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440" r:id="rId5"/>
    <p:sldId id="441" r:id="rId6"/>
    <p:sldId id="442" r:id="rId7"/>
    <p:sldId id="256" r:id="rId8"/>
    <p:sldId id="443" r:id="rId9"/>
    <p:sldId id="436" r:id="rId10"/>
  </p:sldIdLst>
  <p:sldSz cx="9144000" cy="5143500" type="screen16x9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32">
          <p15:clr>
            <a:srgbClr val="A4A3A4"/>
          </p15:clr>
        </p15:guide>
        <p15:guide id="3" orient="horz" pos="100">
          <p15:clr>
            <a:srgbClr val="A4A3A4"/>
          </p15:clr>
        </p15:guide>
        <p15:guide id="4" orient="horz" pos="463">
          <p15:clr>
            <a:srgbClr val="A4A3A4"/>
          </p15:clr>
        </p15:guide>
        <p15:guide id="5" orient="horz" pos="2981">
          <p15:clr>
            <a:srgbClr val="A4A3A4"/>
          </p15:clr>
        </p15:guide>
        <p15:guide id="6" orient="horz" pos="3003">
          <p15:clr>
            <a:srgbClr val="A4A3A4"/>
          </p15:clr>
        </p15:guide>
        <p15:guide id="7" orient="horz" pos="3117">
          <p15:clr>
            <a:srgbClr val="A4A3A4"/>
          </p15:clr>
        </p15:guide>
        <p15:guide id="8" orient="horz" pos="577">
          <p15:clr>
            <a:srgbClr val="A4A3A4"/>
          </p15:clr>
        </p15:guide>
        <p15:guide id="9" orient="horz" pos="2890">
          <p15:clr>
            <a:srgbClr val="A4A3A4"/>
          </p15:clr>
        </p15:guide>
        <p15:guide id="10" pos="295">
          <p15:clr>
            <a:srgbClr val="A4A3A4"/>
          </p15:clr>
        </p15:guide>
        <p15:guide id="11" pos="5602">
          <p15:clr>
            <a:srgbClr val="A4A3A4"/>
          </p15:clr>
        </p15:guide>
        <p15:guide id="12" pos="2880">
          <p15:clr>
            <a:srgbClr val="A4A3A4"/>
          </p15:clr>
        </p15:guide>
        <p15:guide id="13" pos="4830">
          <p15:clr>
            <a:srgbClr val="A4A3A4"/>
          </p15:clr>
        </p15:guide>
        <p15:guide id="14" pos="2767">
          <p15:clr>
            <a:srgbClr val="A4A3A4"/>
          </p15:clr>
        </p15:guide>
        <p15:guide id="15" pos="2993">
          <p15:clr>
            <a:srgbClr val="A4A3A4"/>
          </p15:clr>
        </p15:guide>
        <p15:guide id="16" pos="5511">
          <p15:clr>
            <a:srgbClr val="A4A3A4"/>
          </p15:clr>
        </p15:guide>
        <p15:guide id="17" orient="horz" pos="1439">
          <p15:clr>
            <a:srgbClr val="A4A3A4"/>
          </p15:clr>
        </p15:guide>
        <p15:guide id="18" pos="2744">
          <p15:clr>
            <a:srgbClr val="A4A3A4"/>
          </p15:clr>
        </p15:guide>
        <p15:guide id="19" pos="2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98A6"/>
    <a:srgbClr val="737373"/>
    <a:srgbClr val="4C5861"/>
    <a:srgbClr val="1F2326"/>
    <a:srgbClr val="5E6C77"/>
    <a:srgbClr val="4DC1CB"/>
    <a:srgbClr val="394249"/>
    <a:srgbClr val="788691"/>
    <a:srgbClr val="340000"/>
    <a:srgbClr val="88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FC25BA-67BA-4CE2-A1A3-8A6E7B7F1510}" v="14" dt="2022-09-27T09:33:48.2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00" autoAdjust="0"/>
    <p:restoredTop sz="96208" autoAdjust="0"/>
  </p:normalViewPr>
  <p:slideViewPr>
    <p:cSldViewPr snapToObjects="1">
      <p:cViewPr varScale="1">
        <p:scale>
          <a:sx n="74" d="100"/>
          <a:sy n="74" d="100"/>
        </p:scale>
        <p:origin x="1292" y="52"/>
      </p:cViewPr>
      <p:guideLst>
        <p:guide orient="horz" pos="1620"/>
        <p:guide orient="horz" pos="32"/>
        <p:guide orient="horz" pos="100"/>
        <p:guide orient="horz" pos="463"/>
        <p:guide orient="horz" pos="2981"/>
        <p:guide orient="horz" pos="3003"/>
        <p:guide orient="horz" pos="3117"/>
        <p:guide orient="horz" pos="577"/>
        <p:guide orient="horz" pos="2890"/>
        <p:guide pos="295"/>
        <p:guide pos="5602"/>
        <p:guide pos="2880"/>
        <p:guide pos="4830"/>
        <p:guide pos="2767"/>
        <p:guide pos="2993"/>
        <p:guide pos="5511"/>
        <p:guide orient="horz" pos="1439"/>
        <p:guide pos="2744"/>
        <p:guide pos="29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notesViewPr>
    <p:cSldViewPr snapToObjects="1">
      <p:cViewPr varScale="1">
        <p:scale>
          <a:sx n="68" d="100"/>
          <a:sy n="68" d="100"/>
        </p:scale>
        <p:origin x="-3010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pher Schulz" userId="c7a37fbc-fc18-47fa-bc4e-1f96df76f530" providerId="ADAL" clId="{5A696046-BDB4-DB47-BFBC-8F2794AD06FC}"/>
    <pc:docChg chg="addSld delSld modSld modMainMaster">
      <pc:chgData name="Christopher Schulz" userId="c7a37fbc-fc18-47fa-bc4e-1f96df76f530" providerId="ADAL" clId="{5A696046-BDB4-DB47-BFBC-8F2794AD06FC}" dt="2019-08-10T10:30:29.110" v="6" actId="207"/>
      <pc:docMkLst>
        <pc:docMk/>
      </pc:docMkLst>
      <pc:sldMasterChg chg="modSp modSldLayout">
        <pc:chgData name="Christopher Schulz" userId="c7a37fbc-fc18-47fa-bc4e-1f96df76f530" providerId="ADAL" clId="{5A696046-BDB4-DB47-BFBC-8F2794AD06FC}" dt="2019-08-10T10:30:29.110" v="6" actId="207"/>
        <pc:sldMasterMkLst>
          <pc:docMk/>
          <pc:sldMasterMk cId="0" sldId="2147483648"/>
        </pc:sldMasterMkLst>
        <pc:spChg chg="mod">
          <ac:chgData name="Christopher Schulz" userId="c7a37fbc-fc18-47fa-bc4e-1f96df76f530" providerId="ADAL" clId="{5A696046-BDB4-DB47-BFBC-8F2794AD06FC}" dt="2019-08-10T10:30:09.348" v="4" actId="207"/>
          <ac:spMkLst>
            <pc:docMk/>
            <pc:sldMasterMk cId="0" sldId="2147483648"/>
            <ac:spMk id="50" creationId="{42E84C75-39DA-45C3-8B21-2C2A2FA71D72}"/>
          </ac:spMkLst>
        </pc:spChg>
        <pc:spChg chg="mod">
          <ac:chgData name="Christopher Schulz" userId="c7a37fbc-fc18-47fa-bc4e-1f96df76f530" providerId="ADAL" clId="{5A696046-BDB4-DB47-BFBC-8F2794AD06FC}" dt="2019-08-10T10:30:02.541" v="3" actId="207"/>
          <ac:spMkLst>
            <pc:docMk/>
            <pc:sldMasterMk cId="0" sldId="2147483648"/>
            <ac:spMk id="73" creationId="{00000000-0000-0000-0000-000000000000}"/>
          </ac:spMkLst>
        </pc:spChg>
        <pc:sldLayoutChg chg="modSp">
          <pc:chgData name="Christopher Schulz" userId="c7a37fbc-fc18-47fa-bc4e-1f96df76f530" providerId="ADAL" clId="{5A696046-BDB4-DB47-BFBC-8F2794AD06FC}" dt="2019-08-10T10:30:29.110" v="6" actId="207"/>
          <pc:sldLayoutMkLst>
            <pc:docMk/>
            <pc:sldMasterMk cId="0" sldId="2147483648"/>
            <pc:sldLayoutMk cId="4121594000" sldId="2147483667"/>
          </pc:sldLayoutMkLst>
          <pc:spChg chg="mod">
            <ac:chgData name="Christopher Schulz" userId="c7a37fbc-fc18-47fa-bc4e-1f96df76f530" providerId="ADAL" clId="{5A696046-BDB4-DB47-BFBC-8F2794AD06FC}" dt="2019-08-10T10:30:29.110" v="6" actId="207"/>
            <ac:spMkLst>
              <pc:docMk/>
              <pc:sldMasterMk cId="0" sldId="2147483648"/>
              <pc:sldLayoutMk cId="4121594000" sldId="2147483667"/>
              <ac:spMk id="3" creationId="{00000000-0000-0000-0000-000000000000}"/>
            </ac:spMkLst>
          </pc:spChg>
        </pc:sldLayoutChg>
        <pc:sldLayoutChg chg="addSp">
          <pc:chgData name="Christopher Schulz" userId="c7a37fbc-fc18-47fa-bc4e-1f96df76f530" providerId="ADAL" clId="{5A696046-BDB4-DB47-BFBC-8F2794AD06FC}" dt="2019-08-10T10:17:00.597" v="0"/>
          <pc:sldLayoutMkLst>
            <pc:docMk/>
            <pc:sldMasterMk cId="0" sldId="2147483648"/>
            <pc:sldLayoutMk cId="921124016" sldId="2147483668"/>
          </pc:sldLayoutMkLst>
          <pc:picChg chg="add">
            <ac:chgData name="Christopher Schulz" userId="c7a37fbc-fc18-47fa-bc4e-1f96df76f530" providerId="ADAL" clId="{5A696046-BDB4-DB47-BFBC-8F2794AD06FC}" dt="2019-08-10T10:17:00.597" v="0"/>
            <ac:picMkLst>
              <pc:docMk/>
              <pc:sldMasterMk cId="0" sldId="2147483648"/>
              <pc:sldLayoutMk cId="921124016" sldId="2147483668"/>
              <ac:picMk id="6" creationId="{E25B0BB9-1CCD-FB4F-A0D7-42C445E632FE}"/>
            </ac:picMkLst>
          </pc:picChg>
        </pc:sldLayoutChg>
      </pc:sldMasterChg>
    </pc:docChg>
  </pc:docChgLst>
  <pc:docChgLst>
    <pc:chgData name="Christopher Schulz" userId="c7a37fbc-fc18-47fa-bc4e-1f96df76f530" providerId="ADAL" clId="{D7F914C0-A41A-D140-BD42-2AE8ADED66B5}"/>
    <pc:docChg chg="undo custSel addSld delSld modSld delMainMaster">
      <pc:chgData name="Christopher Schulz" userId="c7a37fbc-fc18-47fa-bc4e-1f96df76f530" providerId="ADAL" clId="{D7F914C0-A41A-D140-BD42-2AE8ADED66B5}" dt="2020-02-18T06:01:24.551" v="1019" actId="478"/>
      <pc:docMkLst>
        <pc:docMk/>
      </pc:docMkLst>
      <pc:sldChg chg="addSp delSp modSp">
        <pc:chgData name="Christopher Schulz" userId="c7a37fbc-fc18-47fa-bc4e-1f96df76f530" providerId="ADAL" clId="{D7F914C0-A41A-D140-BD42-2AE8ADED66B5}" dt="2020-02-18T06:01:13.395" v="1018" actId="1076"/>
        <pc:sldMkLst>
          <pc:docMk/>
          <pc:sldMk cId="3168066364" sldId="256"/>
        </pc:sldMkLst>
        <pc:spChg chg="mod">
          <ac:chgData name="Christopher Schulz" userId="c7a37fbc-fc18-47fa-bc4e-1f96df76f530" providerId="ADAL" clId="{D7F914C0-A41A-D140-BD42-2AE8ADED66B5}" dt="2020-02-17T20:57:33.362" v="756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D7F914C0-A41A-D140-BD42-2AE8ADED66B5}" dt="2020-02-17T21:02:49.338" v="801" actId="20577"/>
          <ac:spMkLst>
            <pc:docMk/>
            <pc:sldMk cId="3168066364" sldId="256"/>
            <ac:spMk id="3" creationId="{5F0B0340-28DE-4C04-BA5A-1EB9C2F0782D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4" creationId="{EBA4A055-C615-2444-9C59-062382808570}"/>
          </ac:spMkLst>
        </pc:spChg>
        <pc:spChg chg="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9" creationId="{2CFC355E-1952-E84D-BA17-53C79032133E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11" creationId="{525ECC90-7F91-6F43-81FF-C86B4F03525F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12" creationId="{7C3701C7-6723-5F40-B891-CB0B03C32712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20" creationId="{3B447BF1-B6C2-4548-909F-A281C6E6FC34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24" creationId="{F469DF17-2AF0-AF40-91B7-08D6816BC626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29" creationId="{D4B14E52-546D-414B-BD8D-55EA712A49EA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0" creationId="{C2C7A234-44C8-8D4B-A6F5-B87FB217A84F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1" creationId="{46BAF8D3-F0FA-FC49-9ABC-763AE2F5D3FF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2" creationId="{103A2EDF-CA30-CB4F-B0AE-A8540522D2BA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3" creationId="{0FEC3EC9-F5FD-5F43-96B0-04FD081BD1EB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4" creationId="{36CEC529-94E9-CE46-AD17-D99120ECD169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5" creationId="{591782B2-A35E-7B49-8B3C-3AC5FF042A45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6" creationId="{3F5CBF22-6A5C-DE4C-BC10-28036F547073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7" creationId="{C994CDDC-904A-BD4B-A18F-AA1207118341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8" creationId="{2EEF43E4-839D-9B4E-81E4-FBA1A7D1E4C5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39" creationId="{DBE731F0-AD69-E44D-8CBE-981C72E29C67}"/>
          </ac:spMkLst>
        </pc:spChg>
        <pc:spChg chg="add del">
          <ac:chgData name="Christopher Schulz" userId="c7a37fbc-fc18-47fa-bc4e-1f96df76f530" providerId="ADAL" clId="{D7F914C0-A41A-D140-BD42-2AE8ADED66B5}" dt="2020-02-17T20:47:47.981" v="516"/>
          <ac:spMkLst>
            <pc:docMk/>
            <pc:sldMk cId="3168066364" sldId="256"/>
            <ac:spMk id="40" creationId="{8BD7E804-9262-C545-BC9C-6026500C65D1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47" creationId="{76579BF3-EB21-144E-8E9F-47C0CD03AF43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48" creationId="{089310DF-EB75-9F4D-8F3E-44D7BECDFF9A}"/>
          </ac:spMkLst>
        </pc:spChg>
        <pc:spChg chg="add del mod">
          <ac:chgData name="Christopher Schulz" userId="c7a37fbc-fc18-47fa-bc4e-1f96df76f530" providerId="ADAL" clId="{D7F914C0-A41A-D140-BD42-2AE8ADED66B5}" dt="2020-02-17T20:51:52.460" v="608" actId="478"/>
          <ac:spMkLst>
            <pc:docMk/>
            <pc:sldMk cId="3168066364" sldId="256"/>
            <ac:spMk id="50" creationId="{E86F862C-D10C-A145-8338-B16862E241CE}"/>
          </ac:spMkLst>
        </pc:spChg>
        <pc:spChg chg="add del mod">
          <ac:chgData name="Christopher Schulz" userId="c7a37fbc-fc18-47fa-bc4e-1f96df76f530" providerId="ADAL" clId="{D7F914C0-A41A-D140-BD42-2AE8ADED66B5}" dt="2020-02-17T20:57:54.575" v="760"/>
          <ac:spMkLst>
            <pc:docMk/>
            <pc:sldMk cId="3168066364" sldId="256"/>
            <ac:spMk id="51" creationId="{26C3267C-4FF1-904A-8D0E-6610B98045CB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2" creationId="{AAD92057-2808-7D45-91CF-78137E99BE07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53" creationId="{0D333FBC-7AA1-A448-A521-AD576F96D878}"/>
          </ac:spMkLst>
        </pc:spChg>
        <pc:spChg chg="add mod">
          <ac:chgData name="Christopher Schulz" userId="c7a37fbc-fc18-47fa-bc4e-1f96df76f530" providerId="ADAL" clId="{D7F914C0-A41A-D140-BD42-2AE8ADED66B5}" dt="2020-02-17T21:00:06.324" v="776" actId="1076"/>
          <ac:spMkLst>
            <pc:docMk/>
            <pc:sldMk cId="3168066364" sldId="256"/>
            <ac:spMk id="54" creationId="{E53354FD-A7ED-F741-90BC-3497A87A2154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5" creationId="{EB76A127-E6B2-FC40-A1E8-B7F7EB192480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6" creationId="{10D63E0A-4BE3-A147-A2CA-128028B6D9C3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7" creationId="{1B0EE509-73DD-6E49-8828-0A28D8365F73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58" creationId="{7B2020FF-33DE-E045-A93A-75BF2EBDBA32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59" creationId="{5F08C03D-6BF7-124E-BC37-F5B4330636A9}"/>
          </ac:spMkLst>
        </pc:spChg>
        <pc:spChg chg="add mod">
          <ac:chgData name="Christopher Schulz" userId="c7a37fbc-fc18-47fa-bc4e-1f96df76f530" providerId="ADAL" clId="{D7F914C0-A41A-D140-BD42-2AE8ADED66B5}" dt="2020-02-17T21:00:09.390" v="777" actId="1076"/>
          <ac:spMkLst>
            <pc:docMk/>
            <pc:sldMk cId="3168066364" sldId="256"/>
            <ac:spMk id="60" creationId="{FBEF7467-2272-8C42-A10A-0A45907C2AF1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61" creationId="{71C73527-1EEC-9C4B-9089-00F8C16AD414}"/>
          </ac:spMkLst>
        </pc:spChg>
        <pc:spChg chg="add mod">
          <ac:chgData name="Christopher Schulz" userId="c7a37fbc-fc18-47fa-bc4e-1f96df76f530" providerId="ADAL" clId="{D7F914C0-A41A-D140-BD42-2AE8ADED66B5}" dt="2020-02-17T21:00:14.210" v="778" actId="1076"/>
          <ac:spMkLst>
            <pc:docMk/>
            <pc:sldMk cId="3168066364" sldId="256"/>
            <ac:spMk id="62" creationId="{957A65AE-4A05-7945-BE35-6ACB3C3617CB}"/>
          </ac:spMkLst>
        </pc:spChg>
        <pc:spChg chg="add del">
          <ac:chgData name="Christopher Schulz" userId="c7a37fbc-fc18-47fa-bc4e-1f96df76f530" providerId="ADAL" clId="{D7F914C0-A41A-D140-BD42-2AE8ADED66B5}" dt="2020-02-17T20:47:05.934" v="514" actId="478"/>
          <ac:spMkLst>
            <pc:docMk/>
            <pc:sldMk cId="3168066364" sldId="256"/>
            <ac:spMk id="63" creationId="{0F54640C-E12E-D44F-BE3B-B5C1D3A3F457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64" creationId="{81A20781-8663-2F41-A497-C4D57F4DE5E5}"/>
          </ac:spMkLst>
        </pc:spChg>
        <pc:spChg chg="add mod">
          <ac:chgData name="Christopher Schulz" userId="c7a37fbc-fc18-47fa-bc4e-1f96df76f530" providerId="ADAL" clId="{D7F914C0-A41A-D140-BD42-2AE8ADED66B5}" dt="2020-02-17T21:00:20.764" v="779" actId="1076"/>
          <ac:spMkLst>
            <pc:docMk/>
            <pc:sldMk cId="3168066364" sldId="256"/>
            <ac:spMk id="65" creationId="{BFC1D988-8A91-DE49-B58D-593EE053184F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66" creationId="{C9F832F3-19D4-E046-9A4C-00866193A3E1}"/>
          </ac:spMkLst>
        </pc:spChg>
        <pc:spChg chg="add mod">
          <ac:chgData name="Christopher Schulz" userId="c7a37fbc-fc18-47fa-bc4e-1f96df76f530" providerId="ADAL" clId="{D7F914C0-A41A-D140-BD42-2AE8ADED66B5}" dt="2020-02-17T21:00:23.777" v="780" actId="1076"/>
          <ac:spMkLst>
            <pc:docMk/>
            <pc:sldMk cId="3168066364" sldId="256"/>
            <ac:spMk id="68" creationId="{B4587D13-8F0D-2640-A4F5-B5F2BB27D966}"/>
          </ac:spMkLst>
        </pc:spChg>
        <pc:spChg chg="add mod">
          <ac:chgData name="Christopher Schulz" userId="c7a37fbc-fc18-47fa-bc4e-1f96df76f530" providerId="ADAL" clId="{D7F914C0-A41A-D140-BD42-2AE8ADED66B5}" dt="2020-02-17T21:03:10.093" v="802" actId="2711"/>
          <ac:spMkLst>
            <pc:docMk/>
            <pc:sldMk cId="3168066364" sldId="256"/>
            <ac:spMk id="77" creationId="{689346B4-56EE-484D-98C1-4C85C5FB7AC9}"/>
          </ac:spMkLst>
        </pc:spChg>
        <pc:spChg chg="add mod">
          <ac:chgData name="Christopher Schulz" userId="c7a37fbc-fc18-47fa-bc4e-1f96df76f530" providerId="ADAL" clId="{D7F914C0-A41A-D140-BD42-2AE8ADED66B5}" dt="2020-02-17T21:00:26.858" v="781" actId="1076"/>
          <ac:spMkLst>
            <pc:docMk/>
            <pc:sldMk cId="3168066364" sldId="256"/>
            <ac:spMk id="78" creationId="{E1A175B2-75F9-7741-9683-4400A733C301}"/>
          </ac:spMkLst>
        </pc:sp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6" creationId="{DB42ED7E-A908-CB41-B41D-BE1B48EB1B39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8" creationId="{62B796B7-1932-9D4A-BA6B-823B6ED2E551}"/>
          </ac:picMkLst>
        </pc:picChg>
        <pc:picChg chg="add del mod">
          <ac:chgData name="Christopher Schulz" userId="c7a37fbc-fc18-47fa-bc4e-1f96df76f530" providerId="ADAL" clId="{D7F914C0-A41A-D140-BD42-2AE8ADED66B5}" dt="2020-02-17T21:10:13.922" v="992" actId="478"/>
          <ac:picMkLst>
            <pc:docMk/>
            <pc:sldMk cId="3168066364" sldId="256"/>
            <ac:picMk id="14" creationId="{B6B600DD-82C1-1A45-A1B1-94AD953E06DC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17" creationId="{AD2E7C2A-19EB-0344-8D3D-365177FAFA98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21" creationId="{81672601-4504-D344-A431-DFCF7E932F30}"/>
          </ac:picMkLst>
        </pc:picChg>
        <pc:picChg chg="add mod">
          <ac:chgData name="Christopher Schulz" userId="c7a37fbc-fc18-47fa-bc4e-1f96df76f530" providerId="ADAL" clId="{D7F914C0-A41A-D140-BD42-2AE8ADED66B5}" dt="2020-02-17T20:59:52.143" v="774" actId="465"/>
          <ac:picMkLst>
            <pc:docMk/>
            <pc:sldMk cId="3168066364" sldId="256"/>
            <ac:picMk id="23" creationId="{263C916C-4583-FC41-BB14-3AAC0056EC22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1" creationId="{D8BB86BD-4DAA-954A-ABD1-44042AE6D516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2" creationId="{AB13D690-A0CA-524A-863D-081C47489608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4" creationId="{6C41B575-11B3-3B42-9F93-0ED722F65987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6" creationId="{6E415BC6-D256-4941-8514-AA9ED4DA9082}"/>
          </ac:picMkLst>
        </pc:picChg>
        <pc:picChg chg="add del">
          <ac:chgData name="Christopher Schulz" userId="c7a37fbc-fc18-47fa-bc4e-1f96df76f530" providerId="ADAL" clId="{D7F914C0-A41A-D140-BD42-2AE8ADED66B5}" dt="2020-02-17T20:47:47.981" v="516"/>
          <ac:picMkLst>
            <pc:docMk/>
            <pc:sldMk cId="3168066364" sldId="256"/>
            <ac:picMk id="49" creationId="{EB21D3A6-A2D8-064B-BD4C-9B1F64D84980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67" creationId="{21F0E87E-9B89-C342-AD8D-A812BF83D754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69" creationId="{49CD0D3F-AB96-8246-8408-5FAFF9B497B7}"/>
          </ac:picMkLst>
        </pc:picChg>
        <pc:picChg chg="add mod">
          <ac:chgData name="Christopher Schulz" userId="c7a37fbc-fc18-47fa-bc4e-1f96df76f530" providerId="ADAL" clId="{D7F914C0-A41A-D140-BD42-2AE8ADED66B5}" dt="2020-02-17T21:00:52.278" v="782" actId="1076"/>
          <ac:picMkLst>
            <pc:docMk/>
            <pc:sldMk cId="3168066364" sldId="256"/>
            <ac:picMk id="70" creationId="{1A05F362-4D05-8F4E-992C-75B98B6A5DA5}"/>
          </ac:picMkLst>
        </pc:picChg>
        <pc:picChg chg="add mod">
          <ac:chgData name="Christopher Schulz" userId="c7a37fbc-fc18-47fa-bc4e-1f96df76f530" providerId="ADAL" clId="{D7F914C0-A41A-D140-BD42-2AE8ADED66B5}" dt="2020-02-17T21:02:44.592" v="794" actId="1076"/>
          <ac:picMkLst>
            <pc:docMk/>
            <pc:sldMk cId="3168066364" sldId="256"/>
            <ac:picMk id="71" creationId="{983402E8-A46E-8B47-A133-C823413EC54F}"/>
          </ac:picMkLst>
        </pc:picChg>
        <pc:picChg chg="add mod">
          <ac:chgData name="Christopher Schulz" userId="c7a37fbc-fc18-47fa-bc4e-1f96df76f530" providerId="ADAL" clId="{D7F914C0-A41A-D140-BD42-2AE8ADED66B5}" dt="2020-02-17T21:02:38.615" v="793" actId="1076"/>
          <ac:picMkLst>
            <pc:docMk/>
            <pc:sldMk cId="3168066364" sldId="256"/>
            <ac:picMk id="72" creationId="{02C0DB24-6FD0-B746-8A62-E01986EADAB6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73" creationId="{8F1F2886-5F91-A849-92C8-398E3F7B5350}"/>
          </ac:picMkLst>
        </pc:picChg>
        <pc:picChg chg="add mod">
          <ac:chgData name="Christopher Schulz" userId="c7a37fbc-fc18-47fa-bc4e-1f96df76f530" providerId="ADAL" clId="{D7F914C0-A41A-D140-BD42-2AE8ADED66B5}" dt="2020-02-17T21:02:31.608" v="792" actId="1076"/>
          <ac:picMkLst>
            <pc:docMk/>
            <pc:sldMk cId="3168066364" sldId="256"/>
            <ac:picMk id="74" creationId="{3121D770-0C42-1544-8A1F-A6227274C75B}"/>
          </ac:picMkLst>
        </pc:picChg>
        <pc:picChg chg="add del">
          <ac:chgData name="Christopher Schulz" userId="c7a37fbc-fc18-47fa-bc4e-1f96df76f530" providerId="ADAL" clId="{D7F914C0-A41A-D140-BD42-2AE8ADED66B5}" dt="2020-02-17T20:47:05.934" v="514" actId="478"/>
          <ac:picMkLst>
            <pc:docMk/>
            <pc:sldMk cId="3168066364" sldId="256"/>
            <ac:picMk id="75" creationId="{61A481AC-2C84-634E-889D-B57122DAE414}"/>
          </ac:picMkLst>
        </pc:picChg>
        <pc:picChg chg="add mod">
          <ac:chgData name="Christopher Schulz" userId="c7a37fbc-fc18-47fa-bc4e-1f96df76f530" providerId="ADAL" clId="{D7F914C0-A41A-D140-BD42-2AE8ADED66B5}" dt="2020-02-17T21:02:25.470" v="791" actId="1076"/>
          <ac:picMkLst>
            <pc:docMk/>
            <pc:sldMk cId="3168066364" sldId="256"/>
            <ac:picMk id="76" creationId="{15E66E4D-FAB3-5742-8D12-8CEB6CD159F8}"/>
          </ac:picMkLst>
        </pc:picChg>
        <pc:picChg chg="add mod">
          <ac:chgData name="Christopher Schulz" userId="c7a37fbc-fc18-47fa-bc4e-1f96df76f530" providerId="ADAL" clId="{D7F914C0-A41A-D140-BD42-2AE8ADED66B5}" dt="2020-02-17T21:02:16.216" v="790" actId="1076"/>
          <ac:picMkLst>
            <pc:docMk/>
            <pc:sldMk cId="3168066364" sldId="256"/>
            <ac:picMk id="79" creationId="{C5E1EDAC-30BB-1243-A314-4B48F0A3E523}"/>
          </ac:picMkLst>
        </pc:picChg>
        <pc:picChg chg="add mod">
          <ac:chgData name="Christopher Schulz" userId="c7a37fbc-fc18-47fa-bc4e-1f96df76f530" providerId="ADAL" clId="{D7F914C0-A41A-D140-BD42-2AE8ADED66B5}" dt="2020-02-18T06:01:13.395" v="1018" actId="1076"/>
          <ac:picMkLst>
            <pc:docMk/>
            <pc:sldMk cId="3168066364" sldId="256"/>
            <ac:picMk id="80" creationId="{B9C0E521-060B-7147-ACA8-A5C61AC1DF06}"/>
          </ac:picMkLst>
        </pc:pic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13" creationId="{276038E9-BA9E-2744-B068-8E99E3FDAD2E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15" creationId="{D0E8B1AC-D997-CA4A-88CB-E2A2065DBD22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19" creationId="{1A447975-C2F0-7A43-BCA5-6679E37A6083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25" creationId="{D9142291-DC66-4C46-A135-9CC157BF6704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28" creationId="{22EA9298-ABC5-574E-8E7F-8313A1C8E1F3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43" creationId="{580DF897-3A19-3E49-A1D0-33F6FDC8861C}"/>
          </ac:cxnSpMkLst>
        </pc:cxnChg>
        <pc:cxnChg chg="add del mod">
          <ac:chgData name="Christopher Schulz" userId="c7a37fbc-fc18-47fa-bc4e-1f96df76f530" providerId="ADAL" clId="{D7F914C0-A41A-D140-BD42-2AE8ADED66B5}" dt="2020-02-17T20:47:05.934" v="514" actId="478"/>
          <ac:cxnSpMkLst>
            <pc:docMk/>
            <pc:sldMk cId="3168066364" sldId="256"/>
            <ac:cxnSpMk id="45" creationId="{59AD6A25-97F8-074F-9989-46709164F64A}"/>
          </ac:cxnSpMkLst>
        </pc:cxnChg>
      </pc:sldChg>
      <pc:sldChg chg="add del">
        <pc:chgData name="Christopher Schulz" userId="c7a37fbc-fc18-47fa-bc4e-1f96df76f530" providerId="ADAL" clId="{D7F914C0-A41A-D140-BD42-2AE8ADED66B5}" dt="2020-02-17T20:48:29.920" v="521" actId="2696"/>
        <pc:sldMkLst>
          <pc:docMk/>
          <pc:sldMk cId="27030151" sldId="258"/>
        </pc:sldMkLst>
      </pc:sldChg>
      <pc:sldChg chg="modSp">
        <pc:chgData name="Christopher Schulz" userId="c7a37fbc-fc18-47fa-bc4e-1f96df76f530" providerId="ADAL" clId="{D7F914C0-A41A-D140-BD42-2AE8ADED66B5}" dt="2020-02-17T20:46:53.651" v="511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D7F914C0-A41A-D140-BD42-2AE8ADED66B5}" dt="2020-02-17T20:46:53.651" v="511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addSp delSp modSp">
        <pc:chgData name="Christopher Schulz" userId="c7a37fbc-fc18-47fa-bc4e-1f96df76f530" providerId="ADAL" clId="{D7F914C0-A41A-D140-BD42-2AE8ADED66B5}" dt="2020-02-17T21:13:39.554" v="1016" actId="1076"/>
        <pc:sldMkLst>
          <pc:docMk/>
          <pc:sldMk cId="3209056058" sldId="440"/>
        </pc:sldMkLst>
        <pc:spChg chg="mod">
          <ac:chgData name="Christopher Schulz" userId="c7a37fbc-fc18-47fa-bc4e-1f96df76f530" providerId="ADAL" clId="{D7F914C0-A41A-D140-BD42-2AE8ADED66B5}" dt="2020-02-17T21:13:39.554" v="1016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D7F914C0-A41A-D140-BD42-2AE8ADED66B5}" dt="2020-02-17T20:43:55.453" v="151" actId="20577"/>
          <ac:spMkLst>
            <pc:docMk/>
            <pc:sldMk cId="3209056058" sldId="440"/>
            <ac:spMk id="16" creationId="{B6283CED-F12B-D640-B69C-31DCB8F74681}"/>
          </ac:spMkLst>
        </pc:spChg>
        <pc:picChg chg="add mod modCrop">
          <ac:chgData name="Christopher Schulz" userId="c7a37fbc-fc18-47fa-bc4e-1f96df76f530" providerId="ADAL" clId="{D7F914C0-A41A-D140-BD42-2AE8ADED66B5}" dt="2020-02-17T21:13:32.474" v="1015" actId="18331"/>
          <ac:picMkLst>
            <pc:docMk/>
            <pc:sldMk cId="3209056058" sldId="440"/>
            <ac:picMk id="3" creationId="{7D8E9132-E61A-DF48-B4E5-5571528ED1DC}"/>
          </ac:picMkLst>
        </pc:picChg>
        <pc:picChg chg="del">
          <ac:chgData name="Christopher Schulz" userId="c7a37fbc-fc18-47fa-bc4e-1f96df76f530" providerId="ADAL" clId="{D7F914C0-A41A-D140-BD42-2AE8ADED66B5}" dt="2020-02-17T20:41:21.407" v="1" actId="478"/>
          <ac:picMkLst>
            <pc:docMk/>
            <pc:sldMk cId="3209056058" sldId="440"/>
            <ac:picMk id="5" creationId="{CB4EEF46-D9DA-C346-B025-B21C8C8541AB}"/>
          </ac:picMkLst>
        </pc:picChg>
      </pc:sldChg>
      <pc:sldChg chg="addSp delSp modSp add">
        <pc:chgData name="Christopher Schulz" userId="c7a37fbc-fc18-47fa-bc4e-1f96df76f530" providerId="ADAL" clId="{D7F914C0-A41A-D140-BD42-2AE8ADED66B5}" dt="2020-02-18T06:01:24.551" v="1019" actId="478"/>
        <pc:sldMkLst>
          <pc:docMk/>
          <pc:sldMk cId="262661586" sldId="441"/>
        </pc:sldMkLst>
        <pc:spChg chg="mod">
          <ac:chgData name="Christopher Schulz" userId="c7a37fbc-fc18-47fa-bc4e-1f96df76f530" providerId="ADAL" clId="{D7F914C0-A41A-D140-BD42-2AE8ADED66B5}" dt="2020-02-17T21:03:18.167" v="807" actId="20577"/>
          <ac:spMkLst>
            <pc:docMk/>
            <pc:sldMk cId="262661586" sldId="441"/>
            <ac:spMk id="2" creationId="{D68C5A50-1913-4507-988E-B3319E45906C}"/>
          </ac:spMkLst>
        </pc:spChg>
        <pc:spChg chg="mod">
          <ac:chgData name="Christopher Schulz" userId="c7a37fbc-fc18-47fa-bc4e-1f96df76f530" providerId="ADAL" clId="{D7F914C0-A41A-D140-BD42-2AE8ADED66B5}" dt="2020-02-17T21:03:20.870" v="811" actId="20577"/>
          <ac:spMkLst>
            <pc:docMk/>
            <pc:sldMk cId="262661586" sldId="441"/>
            <ac:spMk id="3" creationId="{5F0B0340-28DE-4C04-BA5A-1EB9C2F0782D}"/>
          </ac:spMkLst>
        </pc:spChg>
        <pc:spChg chg="mod">
          <ac:chgData name="Christopher Schulz" userId="c7a37fbc-fc18-47fa-bc4e-1f96df76f530" providerId="ADAL" clId="{D7F914C0-A41A-D140-BD42-2AE8ADED66B5}" dt="2020-02-17T21:04:32.345" v="851" actId="115"/>
          <ac:spMkLst>
            <pc:docMk/>
            <pc:sldMk cId="262661586" sldId="441"/>
            <ac:spMk id="54" creationId="{E53354FD-A7ED-F741-90BC-3497A87A2154}"/>
          </ac:spMkLst>
        </pc:spChg>
        <pc:spChg chg="mod">
          <ac:chgData name="Christopher Schulz" userId="c7a37fbc-fc18-47fa-bc4e-1f96df76f530" providerId="ADAL" clId="{D7F914C0-A41A-D140-BD42-2AE8ADED66B5}" dt="2020-02-17T21:04:28.480" v="849" actId="115"/>
          <ac:spMkLst>
            <pc:docMk/>
            <pc:sldMk cId="262661586" sldId="441"/>
            <ac:spMk id="60" creationId="{FBEF7467-2272-8C42-A10A-0A45907C2AF1}"/>
          </ac:spMkLst>
        </pc:spChg>
        <pc:spChg chg="mod">
          <ac:chgData name="Christopher Schulz" userId="c7a37fbc-fc18-47fa-bc4e-1f96df76f530" providerId="ADAL" clId="{D7F914C0-A41A-D140-BD42-2AE8ADED66B5}" dt="2020-02-17T21:04:38.416" v="854" actId="115"/>
          <ac:spMkLst>
            <pc:docMk/>
            <pc:sldMk cId="262661586" sldId="441"/>
            <ac:spMk id="62" creationId="{957A65AE-4A05-7945-BE35-6ACB3C3617CB}"/>
          </ac:spMkLst>
        </pc:spChg>
        <pc:spChg chg="mod">
          <ac:chgData name="Christopher Schulz" userId="c7a37fbc-fc18-47fa-bc4e-1f96df76f530" providerId="ADAL" clId="{D7F914C0-A41A-D140-BD42-2AE8ADED66B5}" dt="2020-02-17T21:05:34.340" v="892" actId="20577"/>
          <ac:spMkLst>
            <pc:docMk/>
            <pc:sldMk cId="262661586" sldId="441"/>
            <ac:spMk id="65" creationId="{BFC1D988-8A91-DE49-B58D-593EE053184F}"/>
          </ac:spMkLst>
        </pc:spChg>
        <pc:spChg chg="mod">
          <ac:chgData name="Christopher Schulz" userId="c7a37fbc-fc18-47fa-bc4e-1f96df76f530" providerId="ADAL" clId="{D7F914C0-A41A-D140-BD42-2AE8ADED66B5}" dt="2020-02-17T21:09:00.818" v="975" actId="115"/>
          <ac:spMkLst>
            <pc:docMk/>
            <pc:sldMk cId="262661586" sldId="441"/>
            <ac:spMk id="68" creationId="{B4587D13-8F0D-2640-A4F5-B5F2BB27D966}"/>
          </ac:spMkLst>
        </pc:spChg>
        <pc:spChg chg="mod">
          <ac:chgData name="Christopher Schulz" userId="c7a37fbc-fc18-47fa-bc4e-1f96df76f530" providerId="ADAL" clId="{D7F914C0-A41A-D140-BD42-2AE8ADED66B5}" dt="2020-02-17T21:08:55.545" v="973" actId="115"/>
          <ac:spMkLst>
            <pc:docMk/>
            <pc:sldMk cId="262661586" sldId="441"/>
            <ac:spMk id="78" creationId="{E1A175B2-75F9-7741-9683-4400A733C301}"/>
          </ac:spMkLst>
        </pc:spChg>
        <pc:picChg chg="add mod">
          <ac:chgData name="Christopher Schulz" userId="c7a37fbc-fc18-47fa-bc4e-1f96df76f530" providerId="ADAL" clId="{D7F914C0-A41A-D140-BD42-2AE8ADED66B5}" dt="2020-02-17T21:09:12.201" v="978" actId="1076"/>
          <ac:picMkLst>
            <pc:docMk/>
            <pc:sldMk cId="262661586" sldId="441"/>
            <ac:picMk id="5" creationId="{FD97028A-D64A-EE49-B5D2-364637A78E41}"/>
          </ac:picMkLst>
        </pc:picChg>
        <pc:picChg chg="del">
          <ac:chgData name="Christopher Schulz" userId="c7a37fbc-fc18-47fa-bc4e-1f96df76f530" providerId="ADAL" clId="{D7F914C0-A41A-D140-BD42-2AE8ADED66B5}" dt="2020-02-17T21:09:17.599" v="980" actId="478"/>
          <ac:picMkLst>
            <pc:docMk/>
            <pc:sldMk cId="262661586" sldId="441"/>
            <ac:picMk id="6" creationId="{DB42ED7E-A908-CB41-B41D-BE1B48EB1B39}"/>
          </ac:picMkLst>
        </pc:picChg>
        <pc:picChg chg="del">
          <ac:chgData name="Christopher Schulz" userId="c7a37fbc-fc18-47fa-bc4e-1f96df76f530" providerId="ADAL" clId="{D7F914C0-A41A-D140-BD42-2AE8ADED66B5}" dt="2020-02-17T21:09:35.747" v="983" actId="478"/>
          <ac:picMkLst>
            <pc:docMk/>
            <pc:sldMk cId="262661586" sldId="441"/>
            <ac:picMk id="8" creationId="{62B796B7-1932-9D4A-BA6B-823B6ED2E551}"/>
          </ac:picMkLst>
        </pc:picChg>
        <pc:picChg chg="add mod">
          <ac:chgData name="Christopher Schulz" userId="c7a37fbc-fc18-47fa-bc4e-1f96df76f530" providerId="ADAL" clId="{D7F914C0-A41A-D140-BD42-2AE8ADED66B5}" dt="2020-02-17T21:09:28.453" v="982" actId="1076"/>
          <ac:picMkLst>
            <pc:docMk/>
            <pc:sldMk cId="262661586" sldId="441"/>
            <ac:picMk id="9" creationId="{FEB1646B-B68B-B94B-8822-8CADBDCFCBCF}"/>
          </ac:picMkLst>
        </pc:picChg>
        <pc:picChg chg="add del mod">
          <ac:chgData name="Christopher Schulz" userId="c7a37fbc-fc18-47fa-bc4e-1f96df76f530" providerId="ADAL" clId="{D7F914C0-A41A-D140-BD42-2AE8ADED66B5}" dt="2020-02-17T21:12:53.009" v="1013" actId="478"/>
          <ac:picMkLst>
            <pc:docMk/>
            <pc:sldMk cId="262661586" sldId="441"/>
            <ac:picMk id="11" creationId="{186DD79D-FA1C-034F-989B-491410EE0E64}"/>
          </ac:picMkLst>
        </pc:picChg>
        <pc:picChg chg="add del mod">
          <ac:chgData name="Christopher Schulz" userId="c7a37fbc-fc18-47fa-bc4e-1f96df76f530" providerId="ADAL" clId="{D7F914C0-A41A-D140-BD42-2AE8ADED66B5}" dt="2020-02-17T21:12:42.428" v="1011" actId="478"/>
          <ac:picMkLst>
            <pc:docMk/>
            <pc:sldMk cId="262661586" sldId="441"/>
            <ac:picMk id="13" creationId="{8ED7FDE7-F125-E14D-AEB9-92A19806748E}"/>
          </ac:picMkLst>
        </pc:picChg>
        <pc:picChg chg="del">
          <ac:chgData name="Christopher Schulz" userId="c7a37fbc-fc18-47fa-bc4e-1f96df76f530" providerId="ADAL" clId="{D7F914C0-A41A-D140-BD42-2AE8ADED66B5}" dt="2020-02-17T21:11:00.329" v="999" actId="478"/>
          <ac:picMkLst>
            <pc:docMk/>
            <pc:sldMk cId="262661586" sldId="441"/>
            <ac:picMk id="14" creationId="{B6B600DD-82C1-1A45-A1B1-94AD953E06DC}"/>
          </ac:picMkLst>
        </pc:picChg>
        <pc:picChg chg="add mod">
          <ac:chgData name="Christopher Schulz" userId="c7a37fbc-fc18-47fa-bc4e-1f96df76f530" providerId="ADAL" clId="{D7F914C0-A41A-D140-BD42-2AE8ADED66B5}" dt="2020-02-17T21:10:08.777" v="991" actId="1076"/>
          <ac:picMkLst>
            <pc:docMk/>
            <pc:sldMk cId="262661586" sldId="441"/>
            <ac:picMk id="16" creationId="{87AD33BD-F0F8-7F4A-8896-FC10AEB1F78C}"/>
          </ac:picMkLst>
        </pc:picChg>
        <pc:picChg chg="del">
          <ac:chgData name="Christopher Schulz" userId="c7a37fbc-fc18-47fa-bc4e-1f96df76f530" providerId="ADAL" clId="{D7F914C0-A41A-D140-BD42-2AE8ADED66B5}" dt="2020-02-17T21:09:58.906" v="989" actId="478"/>
          <ac:picMkLst>
            <pc:docMk/>
            <pc:sldMk cId="262661586" sldId="441"/>
            <ac:picMk id="17" creationId="{AD2E7C2A-19EB-0344-8D3D-365177FAFA98}"/>
          </ac:picMkLst>
        </pc:picChg>
        <pc:picChg chg="add del mod">
          <ac:chgData name="Christopher Schulz" userId="c7a37fbc-fc18-47fa-bc4e-1f96df76f530" providerId="ADAL" clId="{D7F914C0-A41A-D140-BD42-2AE8ADED66B5}" dt="2020-02-18T06:01:24.551" v="1019" actId="478"/>
          <ac:picMkLst>
            <pc:docMk/>
            <pc:sldMk cId="262661586" sldId="441"/>
            <ac:picMk id="19" creationId="{96A75E5F-BBFD-9B4B-815B-5DDB5D0750F9}"/>
          </ac:picMkLst>
        </pc:picChg>
        <pc:picChg chg="del">
          <ac:chgData name="Christopher Schulz" userId="c7a37fbc-fc18-47fa-bc4e-1f96df76f530" providerId="ADAL" clId="{D7F914C0-A41A-D140-BD42-2AE8ADED66B5}" dt="2020-02-17T21:09:43.492" v="985" actId="478"/>
          <ac:picMkLst>
            <pc:docMk/>
            <pc:sldMk cId="262661586" sldId="441"/>
            <ac:picMk id="21" creationId="{81672601-4504-D344-A431-DFCF7E932F30}"/>
          </ac:picMkLst>
        </pc:picChg>
        <pc:picChg chg="add mod">
          <ac:chgData name="Christopher Schulz" userId="c7a37fbc-fc18-47fa-bc4e-1f96df76f530" providerId="ADAL" clId="{D7F914C0-A41A-D140-BD42-2AE8ADED66B5}" dt="2020-02-17T21:11:05.852" v="1000" actId="1076"/>
          <ac:picMkLst>
            <pc:docMk/>
            <pc:sldMk cId="262661586" sldId="441"/>
            <ac:picMk id="22" creationId="{5625DB93-109D-0D41-B156-EC7BAC3FF2D4}"/>
          </ac:picMkLst>
        </pc:picChg>
        <pc:picChg chg="del">
          <ac:chgData name="Christopher Schulz" userId="c7a37fbc-fc18-47fa-bc4e-1f96df76f530" providerId="ADAL" clId="{D7F914C0-A41A-D140-BD42-2AE8ADED66B5}" dt="2020-02-17T21:09:05.066" v="977" actId="478"/>
          <ac:picMkLst>
            <pc:docMk/>
            <pc:sldMk cId="262661586" sldId="441"/>
            <ac:picMk id="23" creationId="{263C916C-4583-FC41-BB14-3AAC0056EC22}"/>
          </ac:picMkLst>
        </pc:picChg>
        <pc:picChg chg="add del mod">
          <ac:chgData name="Christopher Schulz" userId="c7a37fbc-fc18-47fa-bc4e-1f96df76f530" providerId="ADAL" clId="{D7F914C0-A41A-D140-BD42-2AE8ADED66B5}" dt="2020-02-17T21:12:15.624" v="1005" actId="478"/>
          <ac:picMkLst>
            <pc:docMk/>
            <pc:sldMk cId="262661586" sldId="441"/>
            <ac:picMk id="25" creationId="{660720C0-0F1F-E547-A660-5AEBB098CDC1}"/>
          </ac:picMkLst>
        </pc:picChg>
        <pc:picChg chg="add mod">
          <ac:chgData name="Christopher Schulz" userId="c7a37fbc-fc18-47fa-bc4e-1f96df76f530" providerId="ADAL" clId="{D7F914C0-A41A-D140-BD42-2AE8ADED66B5}" dt="2020-02-17T21:12:21.791" v="1006" actId="1076"/>
          <ac:picMkLst>
            <pc:docMk/>
            <pc:sldMk cId="262661586" sldId="441"/>
            <ac:picMk id="27" creationId="{7C5C1CCB-2292-5645-A45A-FF66AC65074F}"/>
          </ac:picMkLst>
        </pc:picChg>
        <pc:picChg chg="add mod">
          <ac:chgData name="Christopher Schulz" userId="c7a37fbc-fc18-47fa-bc4e-1f96df76f530" providerId="ADAL" clId="{D7F914C0-A41A-D140-BD42-2AE8ADED66B5}" dt="2020-02-17T21:12:50.925" v="1012" actId="1076"/>
          <ac:picMkLst>
            <pc:docMk/>
            <pc:sldMk cId="262661586" sldId="441"/>
            <ac:picMk id="29" creationId="{939923BC-3CB7-8B42-93ED-88681774AF1B}"/>
          </ac:picMkLst>
        </pc:picChg>
      </pc:sldChg>
      <pc:sldMasterChg chg="del delSldLayout">
        <pc:chgData name="Christopher Schulz" userId="c7a37fbc-fc18-47fa-bc4e-1f96df76f530" providerId="ADAL" clId="{D7F914C0-A41A-D140-BD42-2AE8ADED66B5}" dt="2020-02-17T20:48:29.940" v="533" actId="2696"/>
        <pc:sldMasterMkLst>
          <pc:docMk/>
          <pc:sldMasterMk cId="2394559101" sldId="2147483670"/>
        </pc:sldMasterMkLst>
        <pc:sldLayoutChg chg="del">
          <pc:chgData name="Christopher Schulz" userId="c7a37fbc-fc18-47fa-bc4e-1f96df76f530" providerId="ADAL" clId="{D7F914C0-A41A-D140-BD42-2AE8ADED66B5}" dt="2020-02-17T20:48:29.922" v="522" actId="2696"/>
          <pc:sldLayoutMkLst>
            <pc:docMk/>
            <pc:sldMasterMk cId="2394559101" sldId="2147483670"/>
            <pc:sldLayoutMk cId="2129078880" sldId="2147483671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4" v="523" actId="2696"/>
          <pc:sldLayoutMkLst>
            <pc:docMk/>
            <pc:sldMasterMk cId="2394559101" sldId="2147483670"/>
            <pc:sldLayoutMk cId="2158486960" sldId="2147483672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5" v="524" actId="2696"/>
          <pc:sldLayoutMkLst>
            <pc:docMk/>
            <pc:sldMasterMk cId="2394559101" sldId="2147483670"/>
            <pc:sldLayoutMk cId="2599357180" sldId="2147483673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6" v="525" actId="2696"/>
          <pc:sldLayoutMkLst>
            <pc:docMk/>
            <pc:sldMasterMk cId="2394559101" sldId="2147483670"/>
            <pc:sldLayoutMk cId="2509802784" sldId="2147483674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8" v="526" actId="2696"/>
          <pc:sldLayoutMkLst>
            <pc:docMk/>
            <pc:sldMasterMk cId="2394559101" sldId="2147483670"/>
            <pc:sldLayoutMk cId="4279668960" sldId="2147483675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29" v="527" actId="2696"/>
          <pc:sldLayoutMkLst>
            <pc:docMk/>
            <pc:sldMasterMk cId="2394559101" sldId="2147483670"/>
            <pc:sldLayoutMk cId="1029814949" sldId="2147483676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0" v="528" actId="2696"/>
          <pc:sldLayoutMkLst>
            <pc:docMk/>
            <pc:sldMasterMk cId="2394559101" sldId="2147483670"/>
            <pc:sldLayoutMk cId="3552784791" sldId="2147483677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1" v="529" actId="2696"/>
          <pc:sldLayoutMkLst>
            <pc:docMk/>
            <pc:sldMasterMk cId="2394559101" sldId="2147483670"/>
            <pc:sldLayoutMk cId="1950862395" sldId="2147483678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3" v="530" actId="2696"/>
          <pc:sldLayoutMkLst>
            <pc:docMk/>
            <pc:sldMasterMk cId="2394559101" sldId="2147483670"/>
            <pc:sldLayoutMk cId="2644237006" sldId="2147483679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4" v="531" actId="2696"/>
          <pc:sldLayoutMkLst>
            <pc:docMk/>
            <pc:sldMasterMk cId="2394559101" sldId="2147483670"/>
            <pc:sldLayoutMk cId="1323777053" sldId="2147483680"/>
          </pc:sldLayoutMkLst>
        </pc:sldLayoutChg>
        <pc:sldLayoutChg chg="del">
          <pc:chgData name="Christopher Schulz" userId="c7a37fbc-fc18-47fa-bc4e-1f96df76f530" providerId="ADAL" clId="{D7F914C0-A41A-D140-BD42-2AE8ADED66B5}" dt="2020-02-17T20:48:29.935" v="532" actId="2696"/>
          <pc:sldLayoutMkLst>
            <pc:docMk/>
            <pc:sldMasterMk cId="2394559101" sldId="2147483670"/>
            <pc:sldLayoutMk cId="3403866977" sldId="2147483681"/>
          </pc:sldLayoutMkLst>
        </pc:sldLayoutChg>
      </pc:sldMasterChg>
    </pc:docChg>
  </pc:docChgLst>
  <pc:docChgLst>
    <pc:chgData name="Christopher Schulz" userId="c7a37fbc-fc18-47fa-bc4e-1f96df76f530" providerId="ADAL" clId="{70FC25BA-67BA-4CE2-A1A3-8A6E7B7F1510}"/>
    <pc:docChg chg="undo custSel addSld modSld sldOrd">
      <pc:chgData name="Christopher Schulz" userId="c7a37fbc-fc18-47fa-bc4e-1f96df76f530" providerId="ADAL" clId="{70FC25BA-67BA-4CE2-A1A3-8A6E7B7F1510}" dt="2022-09-27T09:46:22.610" v="2059" actId="313"/>
      <pc:docMkLst>
        <pc:docMk/>
      </pc:docMkLst>
      <pc:sldChg chg="addSp delSp modSp mod ord">
        <pc:chgData name="Christopher Schulz" userId="c7a37fbc-fc18-47fa-bc4e-1f96df76f530" providerId="ADAL" clId="{70FC25BA-67BA-4CE2-A1A3-8A6E7B7F1510}" dt="2022-09-27T09:33:44.995" v="765"/>
        <pc:sldMkLst>
          <pc:docMk/>
          <pc:sldMk cId="262661586" sldId="441"/>
        </pc:sldMkLst>
        <pc:spChg chg="mod">
          <ac:chgData name="Christopher Schulz" userId="c7a37fbc-fc18-47fa-bc4e-1f96df76f530" providerId="ADAL" clId="{70FC25BA-67BA-4CE2-A1A3-8A6E7B7F1510}" dt="2022-09-25T14:28:04.084" v="373" actId="20577"/>
          <ac:spMkLst>
            <pc:docMk/>
            <pc:sldMk cId="262661586" sldId="441"/>
            <ac:spMk id="3" creationId="{5F0B0340-28DE-4C04-BA5A-1EB9C2F0782D}"/>
          </ac:spMkLst>
        </pc:spChg>
        <pc:spChg chg="add mod">
          <ac:chgData name="Christopher Schulz" userId="c7a37fbc-fc18-47fa-bc4e-1f96df76f530" providerId="ADAL" clId="{70FC25BA-67BA-4CE2-A1A3-8A6E7B7F1510}" dt="2022-09-25T14:22:46.909" v="120" actId="20577"/>
          <ac:spMkLst>
            <pc:docMk/>
            <pc:sldMk cId="262661586" sldId="441"/>
            <ac:spMk id="5" creationId="{E570F15F-71A1-5F93-8A52-8FD37BA4D9FF}"/>
          </ac:spMkLst>
        </pc:spChg>
        <pc:spChg chg="add mod">
          <ac:chgData name="Christopher Schulz" userId="c7a37fbc-fc18-47fa-bc4e-1f96df76f530" providerId="ADAL" clId="{70FC25BA-67BA-4CE2-A1A3-8A6E7B7F1510}" dt="2022-09-25T14:25:48.829" v="268" actId="20577"/>
          <ac:spMkLst>
            <pc:docMk/>
            <pc:sldMk cId="262661586" sldId="441"/>
            <ac:spMk id="12" creationId="{87098E81-E34E-6F11-1100-B8758CEED610}"/>
          </ac:spMkLst>
        </pc:spChg>
        <pc:spChg chg="mod">
          <ac:chgData name="Christopher Schulz" userId="c7a37fbc-fc18-47fa-bc4e-1f96df76f530" providerId="ADAL" clId="{70FC25BA-67BA-4CE2-A1A3-8A6E7B7F1510}" dt="2022-09-25T14:23:48.430" v="128" actId="20577"/>
          <ac:spMkLst>
            <pc:docMk/>
            <pc:sldMk cId="262661586" sldId="441"/>
            <ac:spMk id="34" creationId="{3DC12465-D239-974C-8798-265DB45FA660}"/>
          </ac:spMkLst>
        </pc:spChg>
        <pc:picChg chg="add del mod">
          <ac:chgData name="Christopher Schulz" userId="c7a37fbc-fc18-47fa-bc4e-1f96df76f530" providerId="ADAL" clId="{70FC25BA-67BA-4CE2-A1A3-8A6E7B7F1510}" dt="2022-09-25T14:23:16.472" v="124" actId="478"/>
          <ac:picMkLst>
            <pc:docMk/>
            <pc:sldMk cId="262661586" sldId="441"/>
            <ac:picMk id="6" creationId="{2C254CB5-0666-9DCD-7206-EFCA1A9E5F2E}"/>
          </ac:picMkLst>
        </pc:picChg>
        <pc:picChg chg="add mod">
          <ac:chgData name="Christopher Schulz" userId="c7a37fbc-fc18-47fa-bc4e-1f96df76f530" providerId="ADAL" clId="{70FC25BA-67BA-4CE2-A1A3-8A6E7B7F1510}" dt="2022-09-25T14:23:20.308" v="125" actId="1076"/>
          <ac:picMkLst>
            <pc:docMk/>
            <pc:sldMk cId="262661586" sldId="441"/>
            <ac:picMk id="10" creationId="{AEE87B6A-AE30-492D-3BE7-6078EE8A7E1D}"/>
          </ac:picMkLst>
        </pc:picChg>
        <pc:picChg chg="add del mod">
          <ac:chgData name="Christopher Schulz" userId="c7a37fbc-fc18-47fa-bc4e-1f96df76f530" providerId="ADAL" clId="{70FC25BA-67BA-4CE2-A1A3-8A6E7B7F1510}" dt="2022-09-25T14:26:10.430" v="271" actId="478"/>
          <ac:picMkLst>
            <pc:docMk/>
            <pc:sldMk cId="262661586" sldId="441"/>
            <ac:picMk id="13" creationId="{321C9742-7849-B820-0698-783987C1E061}"/>
          </ac:picMkLst>
        </pc:picChg>
        <pc:picChg chg="add mod">
          <ac:chgData name="Christopher Schulz" userId="c7a37fbc-fc18-47fa-bc4e-1f96df76f530" providerId="ADAL" clId="{70FC25BA-67BA-4CE2-A1A3-8A6E7B7F1510}" dt="2022-09-25T14:26:21.085" v="273" actId="1076"/>
          <ac:picMkLst>
            <pc:docMk/>
            <pc:sldMk cId="262661586" sldId="441"/>
            <ac:picMk id="16" creationId="{DEA7D15F-26C9-2696-1F5F-3311D75396C8}"/>
          </ac:picMkLst>
        </pc:picChg>
      </pc:sldChg>
      <pc:sldChg chg="addSp delSp modSp add mod ord">
        <pc:chgData name="Christopher Schulz" userId="c7a37fbc-fc18-47fa-bc4e-1f96df76f530" providerId="ADAL" clId="{70FC25BA-67BA-4CE2-A1A3-8A6E7B7F1510}" dt="2022-09-27T09:33:44.995" v="765"/>
        <pc:sldMkLst>
          <pc:docMk/>
          <pc:sldMk cId="2740850844" sldId="442"/>
        </pc:sldMkLst>
        <pc:spChg chg="mod">
          <ac:chgData name="Christopher Schulz" userId="c7a37fbc-fc18-47fa-bc4e-1f96df76f530" providerId="ADAL" clId="{70FC25BA-67BA-4CE2-A1A3-8A6E7B7F1510}" dt="2022-09-25T14:28:06.873" v="374" actId="20577"/>
          <ac:spMkLst>
            <pc:docMk/>
            <pc:sldMk cId="2740850844" sldId="442"/>
            <ac:spMk id="3" creationId="{5F0B0340-28DE-4C04-BA5A-1EB9C2F0782D}"/>
          </ac:spMkLst>
        </pc:spChg>
        <pc:spChg chg="mod">
          <ac:chgData name="Christopher Schulz" userId="c7a37fbc-fc18-47fa-bc4e-1f96df76f530" providerId="ADAL" clId="{70FC25BA-67BA-4CE2-A1A3-8A6E7B7F1510}" dt="2022-09-25T14:27:51.854" v="372" actId="20577"/>
          <ac:spMkLst>
            <pc:docMk/>
            <pc:sldMk cId="2740850844" sldId="442"/>
            <ac:spMk id="4" creationId="{B43204FF-25E5-8047-AB49-2A45E24DC47C}"/>
          </ac:spMkLst>
        </pc:spChg>
        <pc:spChg chg="del">
          <ac:chgData name="Christopher Schulz" userId="c7a37fbc-fc18-47fa-bc4e-1f96df76f530" providerId="ADAL" clId="{70FC25BA-67BA-4CE2-A1A3-8A6E7B7F1510}" dt="2022-09-25T14:27:15.880" v="276" actId="478"/>
          <ac:spMkLst>
            <pc:docMk/>
            <pc:sldMk cId="2740850844" sldId="442"/>
            <ac:spMk id="5" creationId="{E570F15F-71A1-5F93-8A52-8FD37BA4D9FF}"/>
          </ac:spMkLst>
        </pc:spChg>
        <pc:spChg chg="del">
          <ac:chgData name="Christopher Schulz" userId="c7a37fbc-fc18-47fa-bc4e-1f96df76f530" providerId="ADAL" clId="{70FC25BA-67BA-4CE2-A1A3-8A6E7B7F1510}" dt="2022-09-25T14:27:13.659" v="275" actId="478"/>
          <ac:spMkLst>
            <pc:docMk/>
            <pc:sldMk cId="2740850844" sldId="442"/>
            <ac:spMk id="12" creationId="{87098E81-E34E-6F11-1100-B8758CEED610}"/>
          </ac:spMkLst>
        </pc:spChg>
        <pc:spChg chg="del">
          <ac:chgData name="Christopher Schulz" userId="c7a37fbc-fc18-47fa-bc4e-1f96df76f530" providerId="ADAL" clId="{70FC25BA-67BA-4CE2-A1A3-8A6E7B7F1510}" dt="2022-09-25T14:27:13.659" v="275" actId="478"/>
          <ac:spMkLst>
            <pc:docMk/>
            <pc:sldMk cId="2740850844" sldId="442"/>
            <ac:spMk id="29" creationId="{AE88982A-72CE-BF4B-9CD4-40ACE8E50CF2}"/>
          </ac:spMkLst>
        </pc:spChg>
        <pc:spChg chg="del">
          <ac:chgData name="Christopher Schulz" userId="c7a37fbc-fc18-47fa-bc4e-1f96df76f530" providerId="ADAL" clId="{70FC25BA-67BA-4CE2-A1A3-8A6E7B7F1510}" dt="2022-09-25T14:27:13.659" v="275" actId="478"/>
          <ac:spMkLst>
            <pc:docMk/>
            <pc:sldMk cId="2740850844" sldId="442"/>
            <ac:spMk id="30" creationId="{173D5436-ACFD-7340-A1D3-8DDD9F0DBD5C}"/>
          </ac:spMkLst>
        </pc:spChg>
        <pc:spChg chg="mod">
          <ac:chgData name="Christopher Schulz" userId="c7a37fbc-fc18-47fa-bc4e-1f96df76f530" providerId="ADAL" clId="{70FC25BA-67BA-4CE2-A1A3-8A6E7B7F1510}" dt="2022-09-25T14:35:25.475" v="666" actId="20577"/>
          <ac:spMkLst>
            <pc:docMk/>
            <pc:sldMk cId="2740850844" sldId="442"/>
            <ac:spMk id="31" creationId="{E3846A96-6FAC-5844-82F3-FF76245E1BB0}"/>
          </ac:spMkLst>
        </pc:spChg>
        <pc:spChg chg="mod">
          <ac:chgData name="Christopher Schulz" userId="c7a37fbc-fc18-47fa-bc4e-1f96df76f530" providerId="ADAL" clId="{70FC25BA-67BA-4CE2-A1A3-8A6E7B7F1510}" dt="2022-09-25T14:35:05.829" v="645" actId="20577"/>
          <ac:spMkLst>
            <pc:docMk/>
            <pc:sldMk cId="2740850844" sldId="442"/>
            <ac:spMk id="32" creationId="{018B68BD-D407-2747-8E09-D97E1E2E8A24}"/>
          </ac:spMkLst>
        </pc:spChg>
        <pc:spChg chg="del">
          <ac:chgData name="Christopher Schulz" userId="c7a37fbc-fc18-47fa-bc4e-1f96df76f530" providerId="ADAL" clId="{70FC25BA-67BA-4CE2-A1A3-8A6E7B7F1510}" dt="2022-09-25T14:27:15.880" v="276" actId="478"/>
          <ac:spMkLst>
            <pc:docMk/>
            <pc:sldMk cId="2740850844" sldId="442"/>
            <ac:spMk id="33" creationId="{6EA1CD77-7B2B-EA45-AB72-E5F9122B9C9F}"/>
          </ac:spMkLst>
        </pc:spChg>
        <pc:spChg chg="del">
          <ac:chgData name="Christopher Schulz" userId="c7a37fbc-fc18-47fa-bc4e-1f96df76f530" providerId="ADAL" clId="{70FC25BA-67BA-4CE2-A1A3-8A6E7B7F1510}" dt="2022-09-25T14:27:13.659" v="275" actId="478"/>
          <ac:spMkLst>
            <pc:docMk/>
            <pc:sldMk cId="2740850844" sldId="442"/>
            <ac:spMk id="34" creationId="{3DC12465-D239-974C-8798-265DB45FA660}"/>
          </ac:spMkLst>
        </pc:spChg>
        <pc:spChg chg="mod">
          <ac:chgData name="Christopher Schulz" userId="c7a37fbc-fc18-47fa-bc4e-1f96df76f530" providerId="ADAL" clId="{70FC25BA-67BA-4CE2-A1A3-8A6E7B7F1510}" dt="2022-09-25T14:37:58.236" v="757" actId="20577"/>
          <ac:spMkLst>
            <pc:docMk/>
            <pc:sldMk cId="2740850844" sldId="442"/>
            <ac:spMk id="35" creationId="{A0D7FF50-9140-9E42-8C49-5F91FA3EE959}"/>
          </ac:spMkLst>
        </pc:spChg>
        <pc:spChg chg="del">
          <ac:chgData name="Christopher Schulz" userId="c7a37fbc-fc18-47fa-bc4e-1f96df76f530" providerId="ADAL" clId="{70FC25BA-67BA-4CE2-A1A3-8A6E7B7F1510}" dt="2022-09-25T14:27:13.659" v="275" actId="478"/>
          <ac:spMkLst>
            <pc:docMk/>
            <pc:sldMk cId="2740850844" sldId="442"/>
            <ac:spMk id="36" creationId="{7EAA5F4F-BC66-094E-8D36-69E105B9661F}"/>
          </ac:spMkLst>
        </pc:spChg>
        <pc:spChg chg="del">
          <ac:chgData name="Christopher Schulz" userId="c7a37fbc-fc18-47fa-bc4e-1f96df76f530" providerId="ADAL" clId="{70FC25BA-67BA-4CE2-A1A3-8A6E7B7F1510}" dt="2022-09-25T14:27:13.659" v="275" actId="478"/>
          <ac:spMkLst>
            <pc:docMk/>
            <pc:sldMk cId="2740850844" sldId="442"/>
            <ac:spMk id="40" creationId="{D8F991DF-6DAF-9842-9F55-E907E9FE2E28}"/>
          </ac:spMkLst>
        </pc:spChg>
        <pc:picChg chg="del">
          <ac:chgData name="Christopher Schulz" userId="c7a37fbc-fc18-47fa-bc4e-1f96df76f530" providerId="ADAL" clId="{70FC25BA-67BA-4CE2-A1A3-8A6E7B7F1510}" dt="2022-09-25T14:27:13.659" v="275" actId="478"/>
          <ac:picMkLst>
            <pc:docMk/>
            <pc:sldMk cId="2740850844" sldId="442"/>
            <ac:picMk id="7" creationId="{0904A7D1-E1D6-4246-B898-B7C4D9195DA8}"/>
          </ac:picMkLst>
        </pc:picChg>
        <pc:picChg chg="add mod">
          <ac:chgData name="Christopher Schulz" userId="c7a37fbc-fc18-47fa-bc4e-1f96df76f530" providerId="ADAL" clId="{70FC25BA-67BA-4CE2-A1A3-8A6E7B7F1510}" dt="2022-09-25T14:39:59.759" v="763" actId="554"/>
          <ac:picMkLst>
            <pc:docMk/>
            <pc:sldMk cId="2740850844" sldId="442"/>
            <ac:picMk id="8" creationId="{F5C7EB5F-857D-D766-D3AF-27ECED967060}"/>
          </ac:picMkLst>
        </pc:picChg>
        <pc:picChg chg="del">
          <ac:chgData name="Christopher Schulz" userId="c7a37fbc-fc18-47fa-bc4e-1f96df76f530" providerId="ADAL" clId="{70FC25BA-67BA-4CE2-A1A3-8A6E7B7F1510}" dt="2022-09-25T14:29:22.338" v="378" actId="478"/>
          <ac:picMkLst>
            <pc:docMk/>
            <pc:sldMk cId="2740850844" sldId="442"/>
            <ac:picMk id="9" creationId="{84613B90-2725-F548-8AD1-ED4E84586F3E}"/>
          </ac:picMkLst>
        </pc:picChg>
        <pc:picChg chg="del">
          <ac:chgData name="Christopher Schulz" userId="c7a37fbc-fc18-47fa-bc4e-1f96df76f530" providerId="ADAL" clId="{70FC25BA-67BA-4CE2-A1A3-8A6E7B7F1510}" dt="2022-09-25T14:27:13.659" v="275" actId="478"/>
          <ac:picMkLst>
            <pc:docMk/>
            <pc:sldMk cId="2740850844" sldId="442"/>
            <ac:picMk id="10" creationId="{AEE87B6A-AE30-492D-3BE7-6078EE8A7E1D}"/>
          </ac:picMkLst>
        </pc:picChg>
        <pc:picChg chg="del">
          <ac:chgData name="Christopher Schulz" userId="c7a37fbc-fc18-47fa-bc4e-1f96df76f530" providerId="ADAL" clId="{70FC25BA-67BA-4CE2-A1A3-8A6E7B7F1510}" dt="2022-09-25T14:33:19.507" v="556" actId="478"/>
          <ac:picMkLst>
            <pc:docMk/>
            <pc:sldMk cId="2740850844" sldId="442"/>
            <ac:picMk id="11" creationId="{87DC838A-9860-5B4B-861D-AAB576ADCF7F}"/>
          </ac:picMkLst>
        </pc:picChg>
        <pc:picChg chg="del">
          <ac:chgData name="Christopher Schulz" userId="c7a37fbc-fc18-47fa-bc4e-1f96df76f530" providerId="ADAL" clId="{70FC25BA-67BA-4CE2-A1A3-8A6E7B7F1510}" dt="2022-09-25T14:35:29.500" v="667" actId="478"/>
          <ac:picMkLst>
            <pc:docMk/>
            <pc:sldMk cId="2740850844" sldId="442"/>
            <ac:picMk id="14" creationId="{85BDEA3D-E2B0-874B-9299-6400A7F5D4CC}"/>
          </ac:picMkLst>
        </pc:picChg>
        <pc:picChg chg="add mod">
          <ac:chgData name="Christopher Schulz" userId="c7a37fbc-fc18-47fa-bc4e-1f96df76f530" providerId="ADAL" clId="{70FC25BA-67BA-4CE2-A1A3-8A6E7B7F1510}" dt="2022-09-25T14:39:59.759" v="763" actId="554"/>
          <ac:picMkLst>
            <pc:docMk/>
            <pc:sldMk cId="2740850844" sldId="442"/>
            <ac:picMk id="15" creationId="{C0F9681D-EF91-CA2E-B742-672F6E758052}"/>
          </ac:picMkLst>
        </pc:picChg>
        <pc:picChg chg="del">
          <ac:chgData name="Christopher Schulz" userId="c7a37fbc-fc18-47fa-bc4e-1f96df76f530" providerId="ADAL" clId="{70FC25BA-67BA-4CE2-A1A3-8A6E7B7F1510}" dt="2022-09-25T14:27:13.659" v="275" actId="478"/>
          <ac:picMkLst>
            <pc:docMk/>
            <pc:sldMk cId="2740850844" sldId="442"/>
            <ac:picMk id="16" creationId="{DEA7D15F-26C9-2696-1F5F-3311D75396C8}"/>
          </ac:picMkLst>
        </pc:picChg>
        <pc:picChg chg="del">
          <ac:chgData name="Christopher Schulz" userId="c7a37fbc-fc18-47fa-bc4e-1f96df76f530" providerId="ADAL" clId="{70FC25BA-67BA-4CE2-A1A3-8A6E7B7F1510}" dt="2022-09-25T14:39:39.630" v="761" actId="478"/>
          <ac:picMkLst>
            <pc:docMk/>
            <pc:sldMk cId="2740850844" sldId="442"/>
            <ac:picMk id="17" creationId="{0B5E0F6D-8260-804A-B369-0346663761CB}"/>
          </ac:picMkLst>
        </pc:picChg>
        <pc:picChg chg="del">
          <ac:chgData name="Christopher Schulz" userId="c7a37fbc-fc18-47fa-bc4e-1f96df76f530" providerId="ADAL" clId="{70FC25BA-67BA-4CE2-A1A3-8A6E7B7F1510}" dt="2022-09-25T14:27:13.659" v="275" actId="478"/>
          <ac:picMkLst>
            <pc:docMk/>
            <pc:sldMk cId="2740850844" sldId="442"/>
            <ac:picMk id="19" creationId="{BC80BF6B-15DC-6042-A404-85E69718A62A}"/>
          </ac:picMkLst>
        </pc:picChg>
        <pc:picChg chg="add mod">
          <ac:chgData name="Christopher Schulz" userId="c7a37fbc-fc18-47fa-bc4e-1f96df76f530" providerId="ADAL" clId="{70FC25BA-67BA-4CE2-A1A3-8A6E7B7F1510}" dt="2022-09-25T14:39:59.759" v="763" actId="554"/>
          <ac:picMkLst>
            <pc:docMk/>
            <pc:sldMk cId="2740850844" sldId="442"/>
            <ac:picMk id="20" creationId="{E868542C-3FD3-A469-B059-9A6BCE725A8C}"/>
          </ac:picMkLst>
        </pc:picChg>
        <pc:picChg chg="del">
          <ac:chgData name="Christopher Schulz" userId="c7a37fbc-fc18-47fa-bc4e-1f96df76f530" providerId="ADAL" clId="{70FC25BA-67BA-4CE2-A1A3-8A6E7B7F1510}" dt="2022-09-25T14:27:13.659" v="275" actId="478"/>
          <ac:picMkLst>
            <pc:docMk/>
            <pc:sldMk cId="2740850844" sldId="442"/>
            <ac:picMk id="22" creationId="{1F7E6410-6B9D-8349-A22A-8A945EBFB30D}"/>
          </ac:picMkLst>
        </pc:picChg>
        <pc:picChg chg="add mod">
          <ac:chgData name="Christopher Schulz" userId="c7a37fbc-fc18-47fa-bc4e-1f96df76f530" providerId="ADAL" clId="{70FC25BA-67BA-4CE2-A1A3-8A6E7B7F1510}" dt="2022-09-25T14:39:59.759" v="763" actId="554"/>
          <ac:picMkLst>
            <pc:docMk/>
            <pc:sldMk cId="2740850844" sldId="442"/>
            <ac:picMk id="23" creationId="{D77E6534-D00D-38A2-BA84-4472EDA8D6F0}"/>
          </ac:picMkLst>
        </pc:picChg>
        <pc:picChg chg="del">
          <ac:chgData name="Christopher Schulz" userId="c7a37fbc-fc18-47fa-bc4e-1f96df76f530" providerId="ADAL" clId="{70FC25BA-67BA-4CE2-A1A3-8A6E7B7F1510}" dt="2022-09-25T14:27:13.659" v="275" actId="478"/>
          <ac:picMkLst>
            <pc:docMk/>
            <pc:sldMk cId="2740850844" sldId="442"/>
            <ac:picMk id="24" creationId="{B9017C9B-BCAA-9A4A-8378-D4196FB80CF5}"/>
          </ac:picMkLst>
        </pc:picChg>
        <pc:picChg chg="del">
          <ac:chgData name="Christopher Schulz" userId="c7a37fbc-fc18-47fa-bc4e-1f96df76f530" providerId="ADAL" clId="{70FC25BA-67BA-4CE2-A1A3-8A6E7B7F1510}" dt="2022-09-25T14:27:13.659" v="275" actId="478"/>
          <ac:picMkLst>
            <pc:docMk/>
            <pc:sldMk cId="2740850844" sldId="442"/>
            <ac:picMk id="26" creationId="{6571680A-D1A5-EF4F-94F7-7A49D57C9068}"/>
          </ac:picMkLst>
        </pc:picChg>
        <pc:picChg chg="del">
          <ac:chgData name="Christopher Schulz" userId="c7a37fbc-fc18-47fa-bc4e-1f96df76f530" providerId="ADAL" clId="{70FC25BA-67BA-4CE2-A1A3-8A6E7B7F1510}" dt="2022-09-25T14:27:13.659" v="275" actId="478"/>
          <ac:picMkLst>
            <pc:docMk/>
            <pc:sldMk cId="2740850844" sldId="442"/>
            <ac:picMk id="41" creationId="{180199BF-5085-054D-A994-9D85B61B7AB2}"/>
          </ac:picMkLst>
        </pc:picChg>
      </pc:sldChg>
      <pc:sldChg chg="modSp add mod">
        <pc:chgData name="Christopher Schulz" userId="c7a37fbc-fc18-47fa-bc4e-1f96df76f530" providerId="ADAL" clId="{70FC25BA-67BA-4CE2-A1A3-8A6E7B7F1510}" dt="2022-09-27T09:46:22.610" v="2059" actId="313"/>
        <pc:sldMkLst>
          <pc:docMk/>
          <pc:sldMk cId="2834510520" sldId="443"/>
        </pc:sldMkLst>
        <pc:spChg chg="mod">
          <ac:chgData name="Christopher Schulz" userId="c7a37fbc-fc18-47fa-bc4e-1f96df76f530" providerId="ADAL" clId="{70FC25BA-67BA-4CE2-A1A3-8A6E7B7F1510}" dt="2022-09-27T09:40:48.800" v="1563" actId="20577"/>
          <ac:spMkLst>
            <pc:docMk/>
            <pc:sldMk cId="2834510520" sldId="443"/>
            <ac:spMk id="2" creationId="{D68C5A50-1913-4507-988E-B3319E45906C}"/>
          </ac:spMkLst>
        </pc:spChg>
        <pc:spChg chg="mod">
          <ac:chgData name="Christopher Schulz" userId="c7a37fbc-fc18-47fa-bc4e-1f96df76f530" providerId="ADAL" clId="{70FC25BA-67BA-4CE2-A1A3-8A6E7B7F1510}" dt="2022-09-27T09:41:04.852" v="1570" actId="114"/>
          <ac:spMkLst>
            <pc:docMk/>
            <pc:sldMk cId="2834510520" sldId="443"/>
            <ac:spMk id="3" creationId="{5F0B0340-28DE-4C04-BA5A-1EB9C2F0782D}"/>
          </ac:spMkLst>
        </pc:spChg>
        <pc:spChg chg="mod">
          <ac:chgData name="Christopher Schulz" userId="c7a37fbc-fc18-47fa-bc4e-1f96df76f530" providerId="ADAL" clId="{70FC25BA-67BA-4CE2-A1A3-8A6E7B7F1510}" dt="2022-09-27T09:46:22.610" v="2059" actId="313"/>
          <ac:spMkLst>
            <pc:docMk/>
            <pc:sldMk cId="2834510520" sldId="443"/>
            <ac:spMk id="34" creationId="{D57E97CE-9882-0E42-B677-2A932A8442BE}"/>
          </ac:spMkLst>
        </pc:spChg>
        <pc:spChg chg="mod">
          <ac:chgData name="Christopher Schulz" userId="c7a37fbc-fc18-47fa-bc4e-1f96df76f530" providerId="ADAL" clId="{70FC25BA-67BA-4CE2-A1A3-8A6E7B7F1510}" dt="2022-09-27T09:44:08.665" v="1938" actId="20577"/>
          <ac:spMkLst>
            <pc:docMk/>
            <pc:sldMk cId="2834510520" sldId="443"/>
            <ac:spMk id="37" creationId="{402E0D0A-FE6D-7C41-B613-24BD4726EB8E}"/>
          </ac:spMkLst>
        </pc:spChg>
        <pc:spChg chg="mod">
          <ac:chgData name="Christopher Schulz" userId="c7a37fbc-fc18-47fa-bc4e-1f96df76f530" providerId="ADAL" clId="{70FC25BA-67BA-4CE2-A1A3-8A6E7B7F1510}" dt="2022-09-27T09:46:11.906" v="2055" actId="20577"/>
          <ac:spMkLst>
            <pc:docMk/>
            <pc:sldMk cId="2834510520" sldId="443"/>
            <ac:spMk id="38" creationId="{04A57B99-E4AA-1243-916C-855B308F9375}"/>
          </ac:spMkLst>
        </pc:spChg>
      </pc:sldChg>
    </pc:docChg>
  </pc:docChgLst>
  <pc:docChgLst>
    <pc:chgData name="Christopher Schulz" userId="c7a37fbc-fc18-47fa-bc4e-1f96df76f530" providerId="ADAL" clId="{EAE2171F-DF41-604A-B96D-11A863CBD639}"/>
    <pc:docChg chg="undo custSel addSld delSld modSld">
      <pc:chgData name="Christopher Schulz" userId="c7a37fbc-fc18-47fa-bc4e-1f96df76f530" providerId="ADAL" clId="{EAE2171F-DF41-604A-B96D-11A863CBD639}" dt="2020-01-07T09:04:13.883" v="2098" actId="1076"/>
      <pc:docMkLst>
        <pc:docMk/>
      </pc:docMkLst>
      <pc:sldChg chg="addSp delSp modSp">
        <pc:chgData name="Christopher Schulz" userId="c7a37fbc-fc18-47fa-bc4e-1f96df76f530" providerId="ADAL" clId="{EAE2171F-DF41-604A-B96D-11A863CBD639}" dt="2020-01-07T08:04:10.818" v="2074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EAE2171F-DF41-604A-B96D-11A863CBD639}" dt="2020-01-05T15:31:53.148" v="1954" actId="790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EAE2171F-DF41-604A-B96D-11A863CBD639}" dt="2020-01-05T14:36:44.917" v="838" actId="20577"/>
          <ac:spMkLst>
            <pc:docMk/>
            <pc:sldMk cId="3168066364" sldId="256"/>
            <ac:spMk id="3" creationId="{5F0B0340-28DE-4C04-BA5A-1EB9C2F0782D}"/>
          </ac:spMkLst>
        </pc:spChg>
        <pc:graphicFrameChg chg="add del">
          <ac:chgData name="Christopher Schulz" userId="c7a37fbc-fc18-47fa-bc4e-1f96df76f530" providerId="ADAL" clId="{EAE2171F-DF41-604A-B96D-11A863CBD639}" dt="2020-01-05T14:33:11.984" v="602"/>
          <ac:graphicFrameMkLst>
            <pc:docMk/>
            <pc:sldMk cId="3168066364" sldId="256"/>
            <ac:graphicFrameMk id="4" creationId="{725C9E8C-1946-4547-9968-C17B8D89679F}"/>
          </ac:graphicFrameMkLst>
        </pc:graphicFrameChg>
        <pc:graphicFrameChg chg="mod modGraphic">
          <ac:chgData name="Christopher Schulz" userId="c7a37fbc-fc18-47fa-bc4e-1f96df76f530" providerId="ADAL" clId="{EAE2171F-DF41-604A-B96D-11A863CBD639}" dt="2020-01-07T08:04:10.818" v="2074" actId="20577"/>
          <ac:graphicFrameMkLst>
            <pc:docMk/>
            <pc:sldMk cId="3168066364" sldId="256"/>
            <ac:graphicFrameMk id="6" creationId="{78112048-7899-1C44-B8EC-A001E6C13E15}"/>
          </ac:graphicFrameMkLst>
        </pc:graphicFrameChg>
        <pc:graphicFrameChg chg="add del mod modGraphic">
          <ac:chgData name="Christopher Schulz" userId="c7a37fbc-fc18-47fa-bc4e-1f96df76f530" providerId="ADAL" clId="{EAE2171F-DF41-604A-B96D-11A863CBD639}" dt="2020-01-05T15:31:25.334" v="1946" actId="20577"/>
          <ac:graphicFrameMkLst>
            <pc:docMk/>
            <pc:sldMk cId="3168066364" sldId="256"/>
            <ac:graphicFrameMk id="7" creationId="{CAD18F1B-98FB-EB44-B6EA-BE897FC3E456}"/>
          </ac:graphicFrameMkLst>
        </pc:graphicFrameChg>
        <pc:picChg chg="add mod">
          <ac:chgData name="Christopher Schulz" userId="c7a37fbc-fc18-47fa-bc4e-1f96df76f530" providerId="ADAL" clId="{EAE2171F-DF41-604A-B96D-11A863CBD639}" dt="2020-01-05T15:31:28.417" v="1947" actId="1076"/>
          <ac:picMkLst>
            <pc:docMk/>
            <pc:sldMk cId="3168066364" sldId="256"/>
            <ac:picMk id="8" creationId="{859A143B-A9FE-5B4C-8403-450E9D19B681}"/>
          </ac:picMkLst>
        </pc:picChg>
        <pc:picChg chg="add mod">
          <ac:chgData name="Christopher Schulz" userId="c7a37fbc-fc18-47fa-bc4e-1f96df76f530" providerId="ADAL" clId="{EAE2171F-DF41-604A-B96D-11A863CBD639}" dt="2020-01-05T15:31:19.912" v="1941" actId="1038"/>
          <ac:picMkLst>
            <pc:docMk/>
            <pc:sldMk cId="3168066364" sldId="256"/>
            <ac:picMk id="10" creationId="{D50F8B04-D52E-D14A-9520-3709A897368F}"/>
          </ac:picMkLst>
        </pc:picChg>
      </pc:sldChg>
      <pc:sldChg chg="del">
        <pc:chgData name="Christopher Schulz" userId="c7a37fbc-fc18-47fa-bc4e-1f96df76f530" providerId="ADAL" clId="{EAE2171F-DF41-604A-B96D-11A863CBD639}" dt="2020-01-05T14:54:10.578" v="1477" actId="2696"/>
        <pc:sldMkLst>
          <pc:docMk/>
          <pc:sldMk cId="1432570934" sldId="428"/>
        </pc:sldMkLst>
      </pc:sldChg>
      <pc:sldChg chg="del">
        <pc:chgData name="Christopher Schulz" userId="c7a37fbc-fc18-47fa-bc4e-1f96df76f530" providerId="ADAL" clId="{EAE2171F-DF41-604A-B96D-11A863CBD639}" dt="2020-01-05T14:54:11.087" v="1479" actId="2696"/>
        <pc:sldMkLst>
          <pc:docMk/>
          <pc:sldMk cId="269611952" sldId="430"/>
        </pc:sldMkLst>
      </pc:sldChg>
      <pc:sldChg chg="del">
        <pc:chgData name="Christopher Schulz" userId="c7a37fbc-fc18-47fa-bc4e-1f96df76f530" providerId="ADAL" clId="{EAE2171F-DF41-604A-B96D-11A863CBD639}" dt="2020-01-05T14:54:11.271" v="1480" actId="2696"/>
        <pc:sldMkLst>
          <pc:docMk/>
          <pc:sldMk cId="2682155137" sldId="433"/>
        </pc:sldMkLst>
      </pc:sldChg>
      <pc:sldChg chg="addSp delSp modSp">
        <pc:chgData name="Christopher Schulz" userId="c7a37fbc-fc18-47fa-bc4e-1f96df76f530" providerId="ADAL" clId="{EAE2171F-DF41-604A-B96D-11A863CBD639}" dt="2020-01-05T15:33:15.933" v="2068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EAE2171F-DF41-604A-B96D-11A863CBD639}" dt="2020-01-05T15:33:15.933" v="2068" actId="20577"/>
          <ac:spMkLst>
            <pc:docMk/>
            <pc:sldMk cId="1472519979" sldId="436"/>
            <ac:spMk id="2" creationId="{6D202977-80CB-8D49-9114-5E34A0AD02D3}"/>
          </ac:spMkLst>
        </pc:spChg>
        <pc:spChg chg="mod">
          <ac:chgData name="Christopher Schulz" userId="c7a37fbc-fc18-47fa-bc4e-1f96df76f530" providerId="ADAL" clId="{EAE2171F-DF41-604A-B96D-11A863CBD639}" dt="2020-01-05T15:32:55.981" v="2025" actId="20577"/>
          <ac:spMkLst>
            <pc:docMk/>
            <pc:sldMk cId="1472519979" sldId="436"/>
            <ac:spMk id="3" creationId="{AA7F89C0-AD47-2F41-ADB5-148CE4D47C23}"/>
          </ac:spMkLst>
        </pc:spChg>
        <pc:spChg chg="mod">
          <ac:chgData name="Christopher Schulz" userId="c7a37fbc-fc18-47fa-bc4e-1f96df76f530" providerId="ADAL" clId="{EAE2171F-DF41-604A-B96D-11A863CBD639}" dt="2020-01-05T15:01:04.085" v="1761" actId="20577"/>
          <ac:spMkLst>
            <pc:docMk/>
            <pc:sldMk cId="1472519979" sldId="436"/>
            <ac:spMk id="9" creationId="{CF9ADDBA-443B-204E-B32A-778FA29DB81E}"/>
          </ac:spMkLst>
        </pc:spChg>
        <pc:spChg chg="mod">
          <ac:chgData name="Christopher Schulz" userId="c7a37fbc-fc18-47fa-bc4e-1f96df76f530" providerId="ADAL" clId="{EAE2171F-DF41-604A-B96D-11A863CBD639}" dt="2020-01-05T14:58:45.917" v="1691" actId="20577"/>
          <ac:spMkLst>
            <pc:docMk/>
            <pc:sldMk cId="1472519979" sldId="436"/>
            <ac:spMk id="10" creationId="{274B8FD3-DE57-F04F-8CE3-DD4FB0B74771}"/>
          </ac:spMkLst>
        </pc:spChg>
        <pc:picChg chg="add mod">
          <ac:chgData name="Christopher Schulz" userId="c7a37fbc-fc18-47fa-bc4e-1f96df76f530" providerId="ADAL" clId="{EAE2171F-DF41-604A-B96D-11A863CBD639}" dt="2020-01-05T15:00:05.483" v="1750" actId="1076"/>
          <ac:picMkLst>
            <pc:docMk/>
            <pc:sldMk cId="1472519979" sldId="436"/>
            <ac:picMk id="7" creationId="{301A4DA2-27BA-694C-B28B-1E2FD338D7BA}"/>
          </ac:picMkLst>
        </pc:picChg>
        <pc:picChg chg="del">
          <ac:chgData name="Christopher Schulz" userId="c7a37fbc-fc18-47fa-bc4e-1f96df76f530" providerId="ADAL" clId="{EAE2171F-DF41-604A-B96D-11A863CBD639}" dt="2020-01-05T14:59:54.695" v="1745" actId="478"/>
          <ac:picMkLst>
            <pc:docMk/>
            <pc:sldMk cId="1472519979" sldId="436"/>
            <ac:picMk id="8" creationId="{85906011-DFCF-6E41-8E6C-974E178A2AE4}"/>
          </ac:picMkLst>
        </pc:picChg>
      </pc:sldChg>
      <pc:sldChg chg="addSp delSp modSp del modNotesTx">
        <pc:chgData name="Christopher Schulz" userId="c7a37fbc-fc18-47fa-bc4e-1f96df76f530" providerId="ADAL" clId="{EAE2171F-DF41-604A-B96D-11A863CBD639}" dt="2020-01-05T15:28:19.237" v="1926" actId="2696"/>
        <pc:sldMkLst>
          <pc:docMk/>
          <pc:sldMk cId="1131587553" sldId="437"/>
        </pc:sldMkLst>
        <pc:spChg chg="add del">
          <ac:chgData name="Christopher Schulz" userId="c7a37fbc-fc18-47fa-bc4e-1f96df76f530" providerId="ADAL" clId="{EAE2171F-DF41-604A-B96D-11A863CBD639}" dt="2020-01-05T15:27:49.259" v="1921" actId="478"/>
          <ac:spMkLst>
            <pc:docMk/>
            <pc:sldMk cId="1131587553" sldId="437"/>
            <ac:spMk id="2" creationId="{EB45F231-E487-4271-9057-B362EF649847}"/>
          </ac:spMkLst>
        </pc:spChg>
        <pc:spChg chg="add del">
          <ac:chgData name="Christopher Schulz" userId="c7a37fbc-fc18-47fa-bc4e-1f96df76f530" providerId="ADAL" clId="{EAE2171F-DF41-604A-B96D-11A863CBD639}" dt="2020-01-05T15:26:17.167" v="1901"/>
          <ac:spMkLst>
            <pc:docMk/>
            <pc:sldMk cId="1131587553" sldId="437"/>
            <ac:spMk id="6" creationId="{E6BCA6DC-87A3-45A3-8418-850F5E83F93D}"/>
          </ac:spMkLst>
        </pc:spChg>
        <pc:spChg chg="mod">
          <ac:chgData name="Christopher Schulz" userId="c7a37fbc-fc18-47fa-bc4e-1f96df76f530" providerId="ADAL" clId="{EAE2171F-DF41-604A-B96D-11A863CBD639}" dt="2020-01-05T15:02:29.882" v="1774" actId="20577"/>
          <ac:spMkLst>
            <pc:docMk/>
            <pc:sldMk cId="1131587553" sldId="437"/>
            <ac:spMk id="8" creationId="{D596532F-93B4-474D-9305-298699D9090B}"/>
          </ac:spMkLst>
        </pc:spChg>
        <pc:picChg chg="add del">
          <ac:chgData name="Christopher Schulz" userId="c7a37fbc-fc18-47fa-bc4e-1f96df76f530" providerId="ADAL" clId="{EAE2171F-DF41-604A-B96D-11A863CBD639}" dt="2020-01-05T15:27:52.143" v="1922" actId="478"/>
          <ac:picMkLst>
            <pc:docMk/>
            <pc:sldMk cId="1131587553" sldId="437"/>
            <ac:picMk id="3" creationId="{C1084879-260D-453B-8097-6930EC92BC9B}"/>
          </ac:picMkLst>
        </pc:picChg>
        <pc:picChg chg="add del mod">
          <ac:chgData name="Christopher Schulz" userId="c7a37fbc-fc18-47fa-bc4e-1f96df76f530" providerId="ADAL" clId="{EAE2171F-DF41-604A-B96D-11A863CBD639}" dt="2020-01-05T15:21:58.042" v="1868"/>
          <ac:picMkLst>
            <pc:docMk/>
            <pc:sldMk cId="1131587553" sldId="437"/>
            <ac:picMk id="4" creationId="{6B288969-7676-9D43-8A47-94A4E01AA80A}"/>
          </ac:picMkLst>
        </pc:picChg>
        <pc:picChg chg="add del mod">
          <ac:chgData name="Christopher Schulz" userId="c7a37fbc-fc18-47fa-bc4e-1f96df76f530" providerId="ADAL" clId="{EAE2171F-DF41-604A-B96D-11A863CBD639}" dt="2020-01-05T15:22:41.201" v="1876"/>
          <ac:picMkLst>
            <pc:docMk/>
            <pc:sldMk cId="1131587553" sldId="437"/>
            <ac:picMk id="9" creationId="{E76F9A5A-E088-774E-81C6-A4FE1CC80DC1}"/>
          </ac:picMkLst>
        </pc:picChg>
      </pc:sldChg>
      <pc:sldChg chg="del">
        <pc:chgData name="Christopher Schulz" userId="c7a37fbc-fc18-47fa-bc4e-1f96df76f530" providerId="ADAL" clId="{EAE2171F-DF41-604A-B96D-11A863CBD639}" dt="2020-01-05T14:54:10.779" v="1478" actId="2696"/>
        <pc:sldMkLst>
          <pc:docMk/>
          <pc:sldMk cId="2361912370" sldId="438"/>
        </pc:sldMkLst>
      </pc:sldChg>
      <pc:sldChg chg="addSp delSp modSp add">
        <pc:chgData name="Christopher Schulz" userId="c7a37fbc-fc18-47fa-bc4e-1f96df76f530" providerId="ADAL" clId="{EAE2171F-DF41-604A-B96D-11A863CBD639}" dt="2020-01-07T09:04:13.883" v="2098" actId="1076"/>
        <pc:sldMkLst>
          <pc:docMk/>
          <pc:sldMk cId="3192340078" sldId="439"/>
        </pc:sldMkLst>
        <pc:spChg chg="mod">
          <ac:chgData name="Christopher Schulz" userId="c7a37fbc-fc18-47fa-bc4e-1f96df76f530" providerId="ADAL" clId="{EAE2171F-DF41-604A-B96D-11A863CBD639}" dt="2020-01-05T15:31:58.278" v="1955" actId="790"/>
          <ac:spMkLst>
            <pc:docMk/>
            <pc:sldMk cId="3192340078" sldId="439"/>
            <ac:spMk id="2" creationId="{D68C5A50-1913-4507-988E-B3319E45906C}"/>
          </ac:spMkLst>
        </pc:spChg>
        <pc:spChg chg="add mod">
          <ac:chgData name="Christopher Schulz" userId="c7a37fbc-fc18-47fa-bc4e-1f96df76f530" providerId="ADAL" clId="{EAE2171F-DF41-604A-B96D-11A863CBD639}" dt="2020-01-05T15:22:47.045" v="1879" actId="20577"/>
          <ac:spMkLst>
            <pc:docMk/>
            <pc:sldMk cId="3192340078" sldId="439"/>
            <ac:spMk id="9" creationId="{C7C2FB34-6C59-D543-93B5-A276AC1371F8}"/>
          </ac:spMkLst>
        </pc:spChg>
        <pc:graphicFrameChg chg="del">
          <ac:chgData name="Christopher Schulz" userId="c7a37fbc-fc18-47fa-bc4e-1f96df76f530" providerId="ADAL" clId="{EAE2171F-DF41-604A-B96D-11A863CBD639}" dt="2020-01-05T14:46:22.494" v="1229" actId="478"/>
          <ac:graphicFrameMkLst>
            <pc:docMk/>
            <pc:sldMk cId="3192340078" sldId="439"/>
            <ac:graphicFrameMk id="6" creationId="{78112048-7899-1C44-B8EC-A001E6C13E15}"/>
          </ac:graphicFrameMkLst>
        </pc:graphicFrameChg>
        <pc:graphicFrameChg chg="del mod">
          <ac:chgData name="Christopher Schulz" userId="c7a37fbc-fc18-47fa-bc4e-1f96df76f530" providerId="ADAL" clId="{EAE2171F-DF41-604A-B96D-11A863CBD639}" dt="2020-01-05T14:46:56.135" v="1233" actId="478"/>
          <ac:graphicFrameMkLst>
            <pc:docMk/>
            <pc:sldMk cId="3192340078" sldId="439"/>
            <ac:graphicFrameMk id="7" creationId="{CAD18F1B-98FB-EB44-B6EA-BE897FC3E456}"/>
          </ac:graphicFrameMkLst>
        </pc:graphicFrameChg>
        <pc:graphicFrameChg chg="add mod modGraphic">
          <ac:chgData name="Christopher Schulz" userId="c7a37fbc-fc18-47fa-bc4e-1f96df76f530" providerId="ADAL" clId="{EAE2171F-DF41-604A-B96D-11A863CBD639}" dt="2020-01-05T15:31:37.536" v="1952" actId="20577"/>
          <ac:graphicFrameMkLst>
            <pc:docMk/>
            <pc:sldMk cId="3192340078" sldId="439"/>
            <ac:graphicFrameMk id="8" creationId="{95B8BFB7-7E88-F945-9617-BC5AF251328A}"/>
          </ac:graphicFrameMkLst>
        </pc:graphicFrameChg>
        <pc:picChg chg="add del mod">
          <ac:chgData name="Christopher Schulz" userId="c7a37fbc-fc18-47fa-bc4e-1f96df76f530" providerId="ADAL" clId="{EAE2171F-DF41-604A-B96D-11A863CBD639}" dt="2020-01-05T14:53:06.517" v="1467" actId="478"/>
          <ac:picMkLst>
            <pc:docMk/>
            <pc:sldMk cId="3192340078" sldId="439"/>
            <ac:picMk id="4" creationId="{316ADC22-3A4F-DD4E-A52A-44F5D48F8D63}"/>
          </ac:picMkLst>
        </pc:picChg>
        <pc:picChg chg="add mod modCrop">
          <ac:chgData name="Christopher Schulz" userId="c7a37fbc-fc18-47fa-bc4e-1f96df76f530" providerId="ADAL" clId="{EAE2171F-DF41-604A-B96D-11A863CBD639}" dt="2020-01-05T14:53:51.956" v="1476" actId="1076"/>
          <ac:picMkLst>
            <pc:docMk/>
            <pc:sldMk cId="3192340078" sldId="439"/>
            <ac:picMk id="5" creationId="{A2FD4524-F78C-CD43-8BD6-C42A11BA0315}"/>
          </ac:picMkLst>
        </pc:picChg>
        <pc:picChg chg="add mod">
          <ac:chgData name="Christopher Schulz" userId="c7a37fbc-fc18-47fa-bc4e-1f96df76f530" providerId="ADAL" clId="{EAE2171F-DF41-604A-B96D-11A863CBD639}" dt="2020-01-07T09:04:13.883" v="2098" actId="1076"/>
          <ac:picMkLst>
            <pc:docMk/>
            <pc:sldMk cId="3192340078" sldId="439"/>
            <ac:picMk id="11" creationId="{96242761-BBA8-D24E-AF90-7EC3FBE03D21}"/>
          </ac:picMkLst>
        </pc:picChg>
      </pc:sldChg>
      <pc:sldChg chg="addSp delSp modSp add">
        <pc:chgData name="Christopher Schulz" userId="c7a37fbc-fc18-47fa-bc4e-1f96df76f530" providerId="ADAL" clId="{EAE2171F-DF41-604A-B96D-11A863CBD639}" dt="2020-01-05T15:30:52.962" v="1934" actId="790"/>
        <pc:sldMkLst>
          <pc:docMk/>
          <pc:sldMk cId="3209056058" sldId="440"/>
        </pc:sldMkLst>
        <pc:spChg chg="del">
          <ac:chgData name="Christopher Schulz" userId="c7a37fbc-fc18-47fa-bc4e-1f96df76f530" providerId="ADAL" clId="{EAE2171F-DF41-604A-B96D-11A863CBD639}" dt="2020-01-05T15:23:32.623" v="1882" actId="478"/>
          <ac:spMkLst>
            <pc:docMk/>
            <pc:sldMk cId="3209056058" sldId="440"/>
            <ac:spMk id="2" creationId="{EB45F231-E487-4271-9057-B362EF649847}"/>
          </ac:spMkLst>
        </pc:spChg>
        <pc:spChg chg="del">
          <ac:chgData name="Christopher Schulz" userId="c7a37fbc-fc18-47fa-bc4e-1f96df76f530" providerId="ADAL" clId="{EAE2171F-DF41-604A-B96D-11A863CBD639}" dt="2020-01-05T15:27:00.860" v="1914" actId="478"/>
          <ac:spMkLst>
            <pc:docMk/>
            <pc:sldMk cId="3209056058" sldId="440"/>
            <ac:spMk id="6" creationId="{E6BCA6DC-87A3-45A3-8418-850F5E83F93D}"/>
          </ac:spMkLst>
        </pc:spChg>
        <pc:spChg chg="add del mod">
          <ac:chgData name="Christopher Schulz" userId="c7a37fbc-fc18-47fa-bc4e-1f96df76f530" providerId="ADAL" clId="{EAE2171F-DF41-604A-B96D-11A863CBD639}" dt="2020-01-05T15:26:31.444" v="1905"/>
          <ac:spMkLst>
            <pc:docMk/>
            <pc:sldMk cId="3209056058" sldId="440"/>
            <ac:spMk id="9" creationId="{008C0B07-2AE8-5A48-8129-24DEAA701F74}"/>
          </ac:spMkLst>
        </pc:spChg>
        <pc:spChg chg="add del mod">
          <ac:chgData name="Christopher Schulz" userId="c7a37fbc-fc18-47fa-bc4e-1f96df76f530" providerId="ADAL" clId="{EAE2171F-DF41-604A-B96D-11A863CBD639}" dt="2020-01-05T15:26:31.444" v="1905"/>
          <ac:spMkLst>
            <pc:docMk/>
            <pc:sldMk cId="3209056058" sldId="440"/>
            <ac:spMk id="10" creationId="{5B0CEB5D-A03D-F04F-A69D-52C9D2532B0E}"/>
          </ac:spMkLst>
        </pc:spChg>
        <pc:spChg chg="add del mod">
          <ac:chgData name="Christopher Schulz" userId="c7a37fbc-fc18-47fa-bc4e-1f96df76f530" providerId="ADAL" clId="{EAE2171F-DF41-604A-B96D-11A863CBD639}" dt="2020-01-05T15:26:31.444" v="1905"/>
          <ac:spMkLst>
            <pc:docMk/>
            <pc:sldMk cId="3209056058" sldId="440"/>
            <ac:spMk id="11" creationId="{7B314655-470A-B040-8212-17D52103718D}"/>
          </ac:spMkLst>
        </pc:spChg>
        <pc:spChg chg="add del">
          <ac:chgData name="Christopher Schulz" userId="c7a37fbc-fc18-47fa-bc4e-1f96df76f530" providerId="ADAL" clId="{EAE2171F-DF41-604A-B96D-11A863CBD639}" dt="2020-01-05T15:30:08.031" v="1932" actId="478"/>
          <ac:spMkLst>
            <pc:docMk/>
            <pc:sldMk cId="3209056058" sldId="440"/>
            <ac:spMk id="12" creationId="{32EF9AB9-F3CC-6340-AFA5-FD80FF545825}"/>
          </ac:spMkLst>
        </pc:spChg>
        <pc:spChg chg="add mod">
          <ac:chgData name="Christopher Schulz" userId="c7a37fbc-fc18-47fa-bc4e-1f96df76f530" providerId="ADAL" clId="{EAE2171F-DF41-604A-B96D-11A863CBD639}" dt="2020-01-05T15:29:31.542" v="1929" actId="207"/>
          <ac:spMkLst>
            <pc:docMk/>
            <pc:sldMk cId="3209056058" sldId="440"/>
            <ac:spMk id="13" creationId="{A7BE49FE-EFD3-864D-8CE2-75132BE98557}"/>
          </ac:spMkLst>
        </pc:spChg>
        <pc:spChg chg="add del mod">
          <ac:chgData name="Christopher Schulz" userId="c7a37fbc-fc18-47fa-bc4e-1f96df76f530" providerId="ADAL" clId="{EAE2171F-DF41-604A-B96D-11A863CBD639}" dt="2020-01-05T15:29:21.236" v="1928" actId="478"/>
          <ac:spMkLst>
            <pc:docMk/>
            <pc:sldMk cId="3209056058" sldId="440"/>
            <ac:spMk id="14" creationId="{3A016E2D-7A20-464F-B697-8891ADD0849C}"/>
          </ac:spMkLst>
        </pc:spChg>
        <pc:spChg chg="add mod">
          <ac:chgData name="Christopher Schulz" userId="c7a37fbc-fc18-47fa-bc4e-1f96df76f530" providerId="ADAL" clId="{EAE2171F-DF41-604A-B96D-11A863CBD639}" dt="2020-01-05T15:30:52.962" v="1934" actId="790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EAE2171F-DF41-604A-B96D-11A863CBD639}" dt="2020-01-05T15:23:33.579" v="1883" actId="478"/>
          <ac:picMkLst>
            <pc:docMk/>
            <pc:sldMk cId="3209056058" sldId="440"/>
            <ac:picMk id="3" creationId="{C1084879-260D-453B-8097-6930EC92BC9B}"/>
          </ac:picMkLst>
        </pc:picChg>
        <pc:picChg chg="add mod modCrop">
          <ac:chgData name="Christopher Schulz" userId="c7a37fbc-fc18-47fa-bc4e-1f96df76f530" providerId="ADAL" clId="{EAE2171F-DF41-604A-B96D-11A863CBD639}" dt="2020-01-05T15:27:34.360" v="1919" actId="732"/>
          <ac:picMkLst>
            <pc:docMk/>
            <pc:sldMk cId="3209056058" sldId="440"/>
            <ac:picMk id="4" creationId="{69A7AD35-8B5F-AC4E-B90B-C98B7400A837}"/>
          </ac:picMkLst>
        </pc:picChg>
        <pc:picChg chg="del">
          <ac:chgData name="Christopher Schulz" userId="c7a37fbc-fc18-47fa-bc4e-1f96df76f530" providerId="ADAL" clId="{EAE2171F-DF41-604A-B96D-11A863CBD639}" dt="2020-01-05T15:27:00.860" v="1914" actId="478"/>
          <ac:picMkLst>
            <pc:docMk/>
            <pc:sldMk cId="3209056058" sldId="440"/>
            <ac:picMk id="7" creationId="{3CAB693A-9ABC-4703-B015-2ECBC6CC2C87}"/>
          </ac:picMkLst>
        </pc:picChg>
        <pc:picChg chg="add mod">
          <ac:chgData name="Christopher Schulz" userId="c7a37fbc-fc18-47fa-bc4e-1f96df76f530" providerId="ADAL" clId="{EAE2171F-DF41-604A-B96D-11A863CBD639}" dt="2020-01-05T15:28:05.558" v="1924" actId="1076"/>
          <ac:picMkLst>
            <pc:docMk/>
            <pc:sldMk cId="3209056058" sldId="440"/>
            <ac:picMk id="15" creationId="{10EEA0E8-2442-4648-BD4C-4664942A584F}"/>
          </ac:picMkLst>
        </pc:picChg>
      </pc:sldChg>
    </pc:docChg>
  </pc:docChgLst>
  <pc:docChgLst>
    <pc:chgData name="Tobias Smuda" userId="5e6210db-75d9-4bfc-abc0-b17d669d9543" providerId="ADAL" clId="{66A395C6-7F87-4899-BCE0-F5BFE752B9D0}"/>
    <pc:docChg chg="undo custSel addSld delSld modSld">
      <pc:chgData name="Tobias Smuda" userId="5e6210db-75d9-4bfc-abc0-b17d669d9543" providerId="ADAL" clId="{66A395C6-7F87-4899-BCE0-F5BFE752B9D0}" dt="2019-11-12T07:28:15.180" v="1604" actId="20577"/>
      <pc:docMkLst>
        <pc:docMk/>
      </pc:docMkLst>
      <pc:sldChg chg="modSp">
        <pc:chgData name="Tobias Smuda" userId="5e6210db-75d9-4bfc-abc0-b17d669d9543" providerId="ADAL" clId="{66A395C6-7F87-4899-BCE0-F5BFE752B9D0}" dt="2019-11-10T14:38:50.685" v="1585" actId="20577"/>
        <pc:sldMkLst>
          <pc:docMk/>
          <pc:sldMk cId="3168066364" sldId="256"/>
        </pc:sldMkLst>
        <pc:graphicFrameChg chg="mod modGraphic">
          <ac:chgData name="Tobias Smuda" userId="5e6210db-75d9-4bfc-abc0-b17d669d9543" providerId="ADAL" clId="{66A395C6-7F87-4899-BCE0-F5BFE752B9D0}" dt="2019-11-10T14:38:50.685" v="1585" actId="20577"/>
          <ac:graphicFrameMkLst>
            <pc:docMk/>
            <pc:sldMk cId="3168066364" sldId="256"/>
            <ac:graphicFrameMk id="6" creationId="{78112048-7899-1C44-B8EC-A001E6C13E15}"/>
          </ac:graphicFrameMkLst>
        </pc:graphicFrameChg>
      </pc:sldChg>
      <pc:sldChg chg="modSp">
        <pc:chgData name="Tobias Smuda" userId="5e6210db-75d9-4bfc-abc0-b17d669d9543" providerId="ADAL" clId="{66A395C6-7F87-4899-BCE0-F5BFE752B9D0}" dt="2019-11-10T13:52:22.078" v="968" actId="20577"/>
        <pc:sldMkLst>
          <pc:docMk/>
          <pc:sldMk cId="1432570934" sldId="428"/>
        </pc:sldMkLst>
        <pc:graphicFrameChg chg="modGraphic">
          <ac:chgData name="Tobias Smuda" userId="5e6210db-75d9-4bfc-abc0-b17d669d9543" providerId="ADAL" clId="{66A395C6-7F87-4899-BCE0-F5BFE752B9D0}" dt="2019-11-10T13:52:22.078" v="968" actId="20577"/>
          <ac:graphicFrameMkLst>
            <pc:docMk/>
            <pc:sldMk cId="1432570934" sldId="428"/>
            <ac:graphicFrameMk id="5" creationId="{53782371-3C58-B941-A0BE-E63C5F98656D}"/>
          </ac:graphicFrameMkLst>
        </pc:graphicFrameChg>
      </pc:sldChg>
      <pc:sldChg chg="modSp">
        <pc:chgData name="Tobias Smuda" userId="5e6210db-75d9-4bfc-abc0-b17d669d9543" providerId="ADAL" clId="{66A395C6-7F87-4899-BCE0-F5BFE752B9D0}" dt="2019-11-10T14:27:19.960" v="1541" actId="20577"/>
        <pc:sldMkLst>
          <pc:docMk/>
          <pc:sldMk cId="269611952" sldId="430"/>
        </pc:sldMkLst>
        <pc:graphicFrameChg chg="mod modGraphic">
          <ac:chgData name="Tobias Smuda" userId="5e6210db-75d9-4bfc-abc0-b17d669d9543" providerId="ADAL" clId="{66A395C6-7F87-4899-BCE0-F5BFE752B9D0}" dt="2019-11-10T14:27:19.960" v="1541" actId="20577"/>
          <ac:graphicFrameMkLst>
            <pc:docMk/>
            <pc:sldMk cId="269611952" sldId="430"/>
            <ac:graphicFrameMk id="5" creationId="{D4A21EAF-1079-9045-B1A4-CA2DA7847228}"/>
          </ac:graphicFrameMkLst>
        </pc:graphicFrameChg>
      </pc:sldChg>
      <pc:sldChg chg="modSp del">
        <pc:chgData name="Tobias Smuda" userId="5e6210db-75d9-4bfc-abc0-b17d669d9543" providerId="ADAL" clId="{66A395C6-7F87-4899-BCE0-F5BFE752B9D0}" dt="2019-11-10T14:25:18.944" v="1530" actId="47"/>
        <pc:sldMkLst>
          <pc:docMk/>
          <pc:sldMk cId="4149209076" sldId="431"/>
        </pc:sldMkLst>
        <pc:graphicFrameChg chg="mod modGraphic">
          <ac:chgData name="Tobias Smuda" userId="5e6210db-75d9-4bfc-abc0-b17d669d9543" providerId="ADAL" clId="{66A395C6-7F87-4899-BCE0-F5BFE752B9D0}" dt="2019-11-10T13:50:53.999" v="948"/>
          <ac:graphicFrameMkLst>
            <pc:docMk/>
            <pc:sldMk cId="4149209076" sldId="431"/>
            <ac:graphicFrameMk id="4" creationId="{9E31AC4F-82BF-F54A-ABA7-51F70B62D1E1}"/>
          </ac:graphicFrameMkLst>
        </pc:graphicFrameChg>
        <pc:graphicFrameChg chg="modGraphic">
          <ac:chgData name="Tobias Smuda" userId="5e6210db-75d9-4bfc-abc0-b17d669d9543" providerId="ADAL" clId="{66A395C6-7F87-4899-BCE0-F5BFE752B9D0}" dt="2019-11-10T13:50:56.817" v="949" actId="108"/>
          <ac:graphicFrameMkLst>
            <pc:docMk/>
            <pc:sldMk cId="4149209076" sldId="431"/>
            <ac:graphicFrameMk id="7" creationId="{C9872F59-0A6E-6449-94F7-0CF6C97B4C81}"/>
          </ac:graphicFrameMkLst>
        </pc:graphicFrameChg>
      </pc:sldChg>
      <pc:sldChg chg="addSp delSp modSp">
        <pc:chgData name="Tobias Smuda" userId="5e6210db-75d9-4bfc-abc0-b17d669d9543" providerId="ADAL" clId="{66A395C6-7F87-4899-BCE0-F5BFE752B9D0}" dt="2019-11-10T14:36:59.392" v="1574" actId="20577"/>
        <pc:sldMkLst>
          <pc:docMk/>
          <pc:sldMk cId="2682155137" sldId="433"/>
        </pc:sldMkLst>
        <pc:graphicFrameChg chg="modGraphic">
          <ac:chgData name="Tobias Smuda" userId="5e6210db-75d9-4bfc-abc0-b17d669d9543" providerId="ADAL" clId="{66A395C6-7F87-4899-BCE0-F5BFE752B9D0}" dt="2019-11-10T14:36:59.392" v="1574" actId="20577"/>
          <ac:graphicFrameMkLst>
            <pc:docMk/>
            <pc:sldMk cId="2682155137" sldId="433"/>
            <ac:graphicFrameMk id="4" creationId="{C40E432C-AA28-D749-BB85-FFA7057CDF3E}"/>
          </ac:graphicFrameMkLst>
        </pc:graphicFrameChg>
        <pc:graphicFrameChg chg="mod modGraphic">
          <ac:chgData name="Tobias Smuda" userId="5e6210db-75d9-4bfc-abc0-b17d669d9543" providerId="ADAL" clId="{66A395C6-7F87-4899-BCE0-F5BFE752B9D0}" dt="2019-11-10T13:49:57.178" v="936"/>
          <ac:graphicFrameMkLst>
            <pc:docMk/>
            <pc:sldMk cId="2682155137" sldId="433"/>
            <ac:graphicFrameMk id="5" creationId="{10E0FAC1-310C-0143-AD00-556F6A0E79CB}"/>
          </ac:graphicFrameMkLst>
        </pc:graphicFrameChg>
        <pc:graphicFrameChg chg="add del mod modGraphic">
          <ac:chgData name="Tobias Smuda" userId="5e6210db-75d9-4bfc-abc0-b17d669d9543" providerId="ADAL" clId="{66A395C6-7F87-4899-BCE0-F5BFE752B9D0}" dt="2019-11-10T13:45:30.586" v="766" actId="478"/>
          <ac:graphicFrameMkLst>
            <pc:docMk/>
            <pc:sldMk cId="2682155137" sldId="433"/>
            <ac:graphicFrameMk id="6" creationId="{5A38AA5F-9CBC-47CF-B6DD-5F0CF0D21B38}"/>
          </ac:graphicFrameMkLst>
        </pc:graphicFrameChg>
      </pc:sldChg>
      <pc:sldChg chg="del">
        <pc:chgData name="Tobias Smuda" userId="5e6210db-75d9-4bfc-abc0-b17d669d9543" providerId="ADAL" clId="{66A395C6-7F87-4899-BCE0-F5BFE752B9D0}" dt="2019-11-09T11:47:11.696" v="284" actId="47"/>
        <pc:sldMkLst>
          <pc:docMk/>
          <pc:sldMk cId="3859421926" sldId="434"/>
        </pc:sldMkLst>
      </pc:sldChg>
      <pc:sldChg chg="addSp delSp modSp add">
        <pc:chgData name="Tobias Smuda" userId="5e6210db-75d9-4bfc-abc0-b17d669d9543" providerId="ADAL" clId="{66A395C6-7F87-4899-BCE0-F5BFE752B9D0}" dt="2019-11-10T13:51:55.302" v="958" actId="20577"/>
        <pc:sldMkLst>
          <pc:docMk/>
          <pc:sldMk cId="1131587553" sldId="437"/>
        </pc:sldMkLst>
        <pc:spChg chg="add del mod">
          <ac:chgData name="Tobias Smuda" userId="5e6210db-75d9-4bfc-abc0-b17d669d9543" providerId="ADAL" clId="{66A395C6-7F87-4899-BCE0-F5BFE752B9D0}" dt="2019-11-09T11:53:51.840" v="521" actId="207"/>
          <ac:spMkLst>
            <pc:docMk/>
            <pc:sldMk cId="1131587553" sldId="437"/>
            <ac:spMk id="2" creationId="{EB45F231-E487-4271-9057-B362EF649847}"/>
          </ac:spMkLst>
        </pc:spChg>
        <pc:spChg chg="add mod">
          <ac:chgData name="Tobias Smuda" userId="5e6210db-75d9-4bfc-abc0-b17d669d9543" providerId="ADAL" clId="{66A395C6-7F87-4899-BCE0-F5BFE752B9D0}" dt="2019-11-09T11:52:31.806" v="481" actId="1036"/>
          <ac:spMkLst>
            <pc:docMk/>
            <pc:sldMk cId="1131587553" sldId="437"/>
            <ac:spMk id="5" creationId="{ADE22E13-F18C-46B2-969E-3B013F351CED}"/>
          </ac:spMkLst>
        </pc:spChg>
        <pc:spChg chg="add mod">
          <ac:chgData name="Tobias Smuda" userId="5e6210db-75d9-4bfc-abc0-b17d669d9543" providerId="ADAL" clId="{66A395C6-7F87-4899-BCE0-F5BFE752B9D0}" dt="2019-11-09T11:42:51.240" v="124" actId="14100"/>
          <ac:spMkLst>
            <pc:docMk/>
            <pc:sldMk cId="1131587553" sldId="437"/>
            <ac:spMk id="6" creationId="{E6BCA6DC-87A3-45A3-8418-850F5E83F93D}"/>
          </ac:spMkLst>
        </pc:spChg>
        <pc:spChg chg="add mod">
          <ac:chgData name="Tobias Smuda" userId="5e6210db-75d9-4bfc-abc0-b17d669d9543" providerId="ADAL" clId="{66A395C6-7F87-4899-BCE0-F5BFE752B9D0}" dt="2019-11-10T13:51:55.302" v="958" actId="20577"/>
          <ac:spMkLst>
            <pc:docMk/>
            <pc:sldMk cId="1131587553" sldId="437"/>
            <ac:spMk id="8" creationId="{D596532F-93B4-474D-9305-298699D9090B}"/>
          </ac:spMkLst>
        </pc:spChg>
        <pc:picChg chg="add mod modCrop">
          <ac:chgData name="Tobias Smuda" userId="5e6210db-75d9-4bfc-abc0-b17d669d9543" providerId="ADAL" clId="{66A395C6-7F87-4899-BCE0-F5BFE752B9D0}" dt="2019-11-09T11:40:50.591" v="37" actId="29295"/>
          <ac:picMkLst>
            <pc:docMk/>
            <pc:sldMk cId="1131587553" sldId="437"/>
            <ac:picMk id="3" creationId="{C1084879-260D-453B-8097-6930EC92BC9B}"/>
          </ac:picMkLst>
        </pc:picChg>
        <pc:picChg chg="del">
          <ac:chgData name="Tobias Smuda" userId="5e6210db-75d9-4bfc-abc0-b17d669d9543" providerId="ADAL" clId="{66A395C6-7F87-4899-BCE0-F5BFE752B9D0}" dt="2019-11-09T11:36:50.749" v="3" actId="478"/>
          <ac:picMkLst>
            <pc:docMk/>
            <pc:sldMk cId="1131587553" sldId="437"/>
            <ac:picMk id="4" creationId="{CD77BADB-F66D-494E-9B1D-65033494C491}"/>
          </ac:picMkLst>
        </pc:picChg>
        <pc:picChg chg="add mod">
          <ac:chgData name="Tobias Smuda" userId="5e6210db-75d9-4bfc-abc0-b17d669d9543" providerId="ADAL" clId="{66A395C6-7F87-4899-BCE0-F5BFE752B9D0}" dt="2019-11-09T11:53:32.042" v="484" actId="1076"/>
          <ac:picMkLst>
            <pc:docMk/>
            <pc:sldMk cId="1131587553" sldId="437"/>
            <ac:picMk id="7" creationId="{3CAB693A-9ABC-4703-B015-2ECBC6CC2C87}"/>
          </ac:picMkLst>
        </pc:picChg>
      </pc:sldChg>
      <pc:sldChg chg="add del">
        <pc:chgData name="Tobias Smuda" userId="5e6210db-75d9-4bfc-abc0-b17d669d9543" providerId="ADAL" clId="{66A395C6-7F87-4899-BCE0-F5BFE752B9D0}" dt="2019-11-09T11:34:48.719" v="1" actId="47"/>
        <pc:sldMkLst>
          <pc:docMk/>
          <pc:sldMk cId="3118605669" sldId="437"/>
        </pc:sldMkLst>
      </pc:sldChg>
      <pc:sldChg chg="modSp add">
        <pc:chgData name="Tobias Smuda" userId="5e6210db-75d9-4bfc-abc0-b17d669d9543" providerId="ADAL" clId="{66A395C6-7F87-4899-BCE0-F5BFE752B9D0}" dt="2019-11-12T07:28:15.180" v="1604" actId="20577"/>
        <pc:sldMkLst>
          <pc:docMk/>
          <pc:sldMk cId="2361912370" sldId="438"/>
        </pc:sldMkLst>
        <pc:graphicFrameChg chg="mod modGraphic">
          <ac:chgData name="Tobias Smuda" userId="5e6210db-75d9-4bfc-abc0-b17d669d9543" providerId="ADAL" clId="{66A395C6-7F87-4899-BCE0-F5BFE752B9D0}" dt="2019-11-12T07:28:15.180" v="1604" actId="20577"/>
          <ac:graphicFrameMkLst>
            <pc:docMk/>
            <pc:sldMk cId="2361912370" sldId="438"/>
            <ac:graphicFrameMk id="4" creationId="{9E31AC4F-82BF-F54A-ABA7-51F70B62D1E1}"/>
          </ac:graphicFrameMkLst>
        </pc:graphicFrameChg>
        <pc:graphicFrameChg chg="mod modGraphic">
          <ac:chgData name="Tobias Smuda" userId="5e6210db-75d9-4bfc-abc0-b17d669d9543" providerId="ADAL" clId="{66A395C6-7F87-4899-BCE0-F5BFE752B9D0}" dt="2019-11-10T14:25:08.890" v="1529" actId="20577"/>
          <ac:graphicFrameMkLst>
            <pc:docMk/>
            <pc:sldMk cId="2361912370" sldId="438"/>
            <ac:graphicFrameMk id="7" creationId="{C9872F59-0A6E-6449-94F7-0CF6C97B4C81}"/>
          </ac:graphicFrameMkLst>
        </pc:graphicFrameChg>
      </pc:sldChg>
    </pc:docChg>
  </pc:docChgLst>
  <pc:docChgLst>
    <pc:chgData name="Christopher Schulz" userId="c7a37fbc-fc18-47fa-bc4e-1f96df76f530" providerId="ADAL" clId="{30E24DF9-1E64-5E49-B04B-9EB3D30DEAB4}"/>
    <pc:docChg chg="modSld">
      <pc:chgData name="Christopher Schulz" userId="c7a37fbc-fc18-47fa-bc4e-1f96df76f530" providerId="ADAL" clId="{30E24DF9-1E64-5E49-B04B-9EB3D30DEAB4}" dt="2020-02-13T18:38:31.586" v="2" actId="1076"/>
      <pc:docMkLst>
        <pc:docMk/>
      </pc:docMkLst>
      <pc:sldChg chg="modSp">
        <pc:chgData name="Christopher Schulz" userId="c7a37fbc-fc18-47fa-bc4e-1f96df76f530" providerId="ADAL" clId="{30E24DF9-1E64-5E49-B04B-9EB3D30DEAB4}" dt="2020-02-13T18:38:31.586" v="2" actId="1076"/>
        <pc:sldMkLst>
          <pc:docMk/>
          <pc:sldMk cId="3209056058" sldId="440"/>
        </pc:sldMkLst>
        <pc:spChg chg="mod">
          <ac:chgData name="Christopher Schulz" userId="c7a37fbc-fc18-47fa-bc4e-1f96df76f530" providerId="ADAL" clId="{30E24DF9-1E64-5E49-B04B-9EB3D30DEAB4}" dt="2020-02-13T18:38:31.586" v="2" actId="1076"/>
          <ac:spMkLst>
            <pc:docMk/>
            <pc:sldMk cId="3209056058" sldId="440"/>
            <ac:spMk id="12" creationId="{32EF9AB9-F3CC-6340-AFA5-FD80FF545825}"/>
          </ac:spMkLst>
        </pc:spChg>
        <pc:picChg chg="mod">
          <ac:chgData name="Christopher Schulz" userId="c7a37fbc-fc18-47fa-bc4e-1f96df76f530" providerId="ADAL" clId="{30E24DF9-1E64-5E49-B04B-9EB3D30DEAB4}" dt="2020-02-13T18:38:27.283" v="1" actId="18331"/>
          <ac:picMkLst>
            <pc:docMk/>
            <pc:sldMk cId="3209056058" sldId="440"/>
            <ac:picMk id="5" creationId="{CB4EEF46-D9DA-C346-B025-B21C8C8541AB}"/>
          </ac:picMkLst>
        </pc:picChg>
      </pc:sldChg>
    </pc:docChg>
  </pc:docChgLst>
  <pc:docChgLst>
    <pc:chgData name="Christopher Schulz" userId="c7a37fbc-fc18-47fa-bc4e-1f96df76f530" providerId="ADAL" clId="{D3475D91-1DB2-6340-86DE-860237F9C8A3}"/>
    <pc:docChg chg="undo redo custSel addSld delSld modSld sldOrd">
      <pc:chgData name="Christopher Schulz" userId="c7a37fbc-fc18-47fa-bc4e-1f96df76f530" providerId="ADAL" clId="{D3475D91-1DB2-6340-86DE-860237F9C8A3}" dt="2019-10-19T18:59:17.044" v="6022" actId="20577"/>
      <pc:docMkLst>
        <pc:docMk/>
      </pc:docMkLst>
      <pc:sldChg chg="addSp delSp modSp">
        <pc:chgData name="Christopher Schulz" userId="c7a37fbc-fc18-47fa-bc4e-1f96df76f530" providerId="ADAL" clId="{D3475D91-1DB2-6340-86DE-860237F9C8A3}" dt="2019-10-19T18:58:15.986" v="6014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D3475D91-1DB2-6340-86DE-860237F9C8A3}" dt="2019-10-17T05:12:37.879" v="36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D3475D91-1DB2-6340-86DE-860237F9C8A3}" dt="2019-10-17T05:12:53.831" v="72" actId="20577"/>
          <ac:spMkLst>
            <pc:docMk/>
            <pc:sldMk cId="3168066364" sldId="256"/>
            <ac:spMk id="3" creationId="{5F0B0340-28DE-4C04-BA5A-1EB9C2F0782D}"/>
          </ac:spMkLst>
        </pc:spChg>
        <pc:spChg chg="del">
          <ac:chgData name="Christopher Schulz" userId="c7a37fbc-fc18-47fa-bc4e-1f96df76f530" providerId="ADAL" clId="{D3475D91-1DB2-6340-86DE-860237F9C8A3}" dt="2019-10-17T05:11:07.870" v="0" actId="478"/>
          <ac:spMkLst>
            <pc:docMk/>
            <pc:sldMk cId="3168066364" sldId="256"/>
            <ac:spMk id="4" creationId="{0B114C2E-D5BA-49C4-B31F-CDD48FCACD43}"/>
          </ac:spMkLst>
        </pc:spChg>
        <pc:graphicFrameChg chg="add del">
          <ac:chgData name="Christopher Schulz" userId="c7a37fbc-fc18-47fa-bc4e-1f96df76f530" providerId="ADAL" clId="{D3475D91-1DB2-6340-86DE-860237F9C8A3}" dt="2019-10-17T05:11:09.945" v="2"/>
          <ac:graphicFrameMkLst>
            <pc:docMk/>
            <pc:sldMk cId="3168066364" sldId="256"/>
            <ac:graphicFrameMk id="5" creationId="{C20D92CC-0C7A-6749-A35A-828E0D771E26}"/>
          </ac:graphicFrameMkLst>
        </pc:graphicFrameChg>
        <pc:graphicFrameChg chg="add mod modGraphic">
          <ac:chgData name="Christopher Schulz" userId="c7a37fbc-fc18-47fa-bc4e-1f96df76f530" providerId="ADAL" clId="{D3475D91-1DB2-6340-86DE-860237F9C8A3}" dt="2019-10-19T18:58:15.986" v="6014" actId="20577"/>
          <ac:graphicFrameMkLst>
            <pc:docMk/>
            <pc:sldMk cId="3168066364" sldId="256"/>
            <ac:graphicFrameMk id="6" creationId="{78112048-7899-1C44-B8EC-A001E6C13E15}"/>
          </ac:graphicFrameMkLst>
        </pc:graphicFrameChg>
      </pc:sldChg>
      <pc:sldChg chg="addSp delSp modSp add">
        <pc:chgData name="Christopher Schulz" userId="c7a37fbc-fc18-47fa-bc4e-1f96df76f530" providerId="ADAL" clId="{D3475D91-1DB2-6340-86DE-860237F9C8A3}" dt="2019-10-19T18:47:03.696" v="5734" actId="13926"/>
        <pc:sldMkLst>
          <pc:docMk/>
          <pc:sldMk cId="1432570934" sldId="428"/>
        </pc:sldMkLst>
        <pc:graphicFrameChg chg="add mod modGraphic">
          <ac:chgData name="Christopher Schulz" userId="c7a37fbc-fc18-47fa-bc4e-1f96df76f530" providerId="ADAL" clId="{D3475D91-1DB2-6340-86DE-860237F9C8A3}" dt="2019-10-19T18:47:03.696" v="5734" actId="13926"/>
          <ac:graphicFrameMkLst>
            <pc:docMk/>
            <pc:sldMk cId="1432570934" sldId="428"/>
            <ac:graphicFrameMk id="5" creationId="{53782371-3C58-B941-A0BE-E63C5F98656D}"/>
          </ac:graphicFrameMkLst>
        </pc:graphicFrameChg>
        <pc:graphicFrameChg chg="del">
          <ac:chgData name="Christopher Schulz" userId="c7a37fbc-fc18-47fa-bc4e-1f96df76f530" providerId="ADAL" clId="{D3475D91-1DB2-6340-86DE-860237F9C8A3}" dt="2019-10-17T05:13:46.729" v="81" actId="478"/>
          <ac:graphicFrameMkLst>
            <pc:docMk/>
            <pc:sldMk cId="1432570934" sldId="428"/>
            <ac:graphicFrameMk id="6" creationId="{78112048-7899-1C44-B8EC-A001E6C13E15}"/>
          </ac:graphicFrameMkLst>
        </pc:graphicFrameChg>
      </pc:sldChg>
      <pc:sldChg chg="addSp delSp modSp add ord">
        <pc:chgData name="Christopher Schulz" userId="c7a37fbc-fc18-47fa-bc4e-1f96df76f530" providerId="ADAL" clId="{D3475D91-1DB2-6340-86DE-860237F9C8A3}" dt="2019-10-19T18:58:58.879" v="6018" actId="20577"/>
        <pc:sldMkLst>
          <pc:docMk/>
          <pc:sldMk cId="269611952" sldId="430"/>
        </pc:sldMkLst>
        <pc:graphicFrameChg chg="add del mod modGraphic">
          <ac:chgData name="Christopher Schulz" userId="c7a37fbc-fc18-47fa-bc4e-1f96df76f530" providerId="ADAL" clId="{D3475D91-1DB2-6340-86DE-860237F9C8A3}" dt="2019-10-19T18:54:03.632" v="5919" actId="478"/>
          <ac:graphicFrameMkLst>
            <pc:docMk/>
            <pc:sldMk cId="269611952" sldId="430"/>
            <ac:graphicFrameMk id="4" creationId="{3BEA057F-2C88-7048-9508-81D1FE8492D2}"/>
          </ac:graphicFrameMkLst>
        </pc:graphicFrameChg>
        <pc:graphicFrameChg chg="add mod modGraphic">
          <ac:chgData name="Christopher Schulz" userId="c7a37fbc-fc18-47fa-bc4e-1f96df76f530" providerId="ADAL" clId="{D3475D91-1DB2-6340-86DE-860237F9C8A3}" dt="2019-10-19T18:58:58.879" v="6018" actId="20577"/>
          <ac:graphicFrameMkLst>
            <pc:docMk/>
            <pc:sldMk cId="269611952" sldId="430"/>
            <ac:graphicFrameMk id="5" creationId="{D4A21EAF-1079-9045-B1A4-CA2DA7847228}"/>
          </ac:graphicFrameMkLst>
        </pc:graphicFrameChg>
        <pc:graphicFrameChg chg="add del modGraphic">
          <ac:chgData name="Christopher Schulz" userId="c7a37fbc-fc18-47fa-bc4e-1f96df76f530" providerId="ADAL" clId="{D3475D91-1DB2-6340-86DE-860237F9C8A3}" dt="2019-10-17T05:41:05.658" v="1315" actId="478"/>
          <ac:graphicFrameMkLst>
            <pc:docMk/>
            <pc:sldMk cId="269611952" sldId="430"/>
            <ac:graphicFrameMk id="5" creationId="{F38D475A-E751-2A4B-9480-839984D1C1E6}"/>
          </ac:graphicFrameMkLst>
        </pc:graphicFrameChg>
        <pc:graphicFrameChg chg="add del mod modGraphic">
          <ac:chgData name="Christopher Schulz" userId="c7a37fbc-fc18-47fa-bc4e-1f96df76f530" providerId="ADAL" clId="{D3475D91-1DB2-6340-86DE-860237F9C8A3}" dt="2019-10-17T05:45:00.271" v="1544" actId="478"/>
          <ac:graphicFrameMkLst>
            <pc:docMk/>
            <pc:sldMk cId="269611952" sldId="430"/>
            <ac:graphicFrameMk id="6" creationId="{157853EB-DE62-6647-88B4-6E5969CB59AC}"/>
          </ac:graphicFrameMkLst>
        </pc:graphicFrameChg>
      </pc:sldChg>
      <pc:sldChg chg="addSp delSp modSp add ord">
        <pc:chgData name="Christopher Schulz" userId="c7a37fbc-fc18-47fa-bc4e-1f96df76f530" providerId="ADAL" clId="{D3475D91-1DB2-6340-86DE-860237F9C8A3}" dt="2019-10-19T18:55:12.857" v="6002" actId="20577"/>
        <pc:sldMkLst>
          <pc:docMk/>
          <pc:sldMk cId="4149209076" sldId="431"/>
        </pc:sldMkLst>
        <pc:graphicFrameChg chg="add mod modGraphic">
          <ac:chgData name="Christopher Schulz" userId="c7a37fbc-fc18-47fa-bc4e-1f96df76f530" providerId="ADAL" clId="{D3475D91-1DB2-6340-86DE-860237F9C8A3}" dt="2019-10-19T18:55:12.857" v="6002" actId="20577"/>
          <ac:graphicFrameMkLst>
            <pc:docMk/>
            <pc:sldMk cId="4149209076" sldId="431"/>
            <ac:graphicFrameMk id="4" creationId="{9E31AC4F-82BF-F54A-ABA7-51F70B62D1E1}"/>
          </ac:graphicFrameMkLst>
        </pc:graphicFrameChg>
        <pc:graphicFrameChg chg="add del mod modGraphic">
          <ac:chgData name="Christopher Schulz" userId="c7a37fbc-fc18-47fa-bc4e-1f96df76f530" providerId="ADAL" clId="{D3475D91-1DB2-6340-86DE-860237F9C8A3}" dt="2019-10-19T18:44:47.577" v="5669" actId="478"/>
          <ac:graphicFrameMkLst>
            <pc:docMk/>
            <pc:sldMk cId="4149209076" sldId="431"/>
            <ac:graphicFrameMk id="5" creationId="{2F859671-F7F7-8E4A-A747-73DD7D05C4A0}"/>
          </ac:graphicFrameMkLst>
        </pc:graphicFrameChg>
        <pc:graphicFrameChg chg="add del mod">
          <ac:chgData name="Christopher Schulz" userId="c7a37fbc-fc18-47fa-bc4e-1f96df76f530" providerId="ADAL" clId="{D3475D91-1DB2-6340-86DE-860237F9C8A3}" dt="2019-10-19T18:53:10.176" v="5901"/>
          <ac:graphicFrameMkLst>
            <pc:docMk/>
            <pc:sldMk cId="4149209076" sldId="431"/>
            <ac:graphicFrameMk id="6" creationId="{6E8DD67C-C96B-AD45-A332-9AA0927499A4}"/>
          </ac:graphicFrameMkLst>
        </pc:graphicFrameChg>
        <pc:graphicFrameChg chg="add mod">
          <ac:chgData name="Christopher Schulz" userId="c7a37fbc-fc18-47fa-bc4e-1f96df76f530" providerId="ADAL" clId="{D3475D91-1DB2-6340-86DE-860237F9C8A3}" dt="2019-10-19T18:53:53.335" v="5918" actId="1035"/>
          <ac:graphicFrameMkLst>
            <pc:docMk/>
            <pc:sldMk cId="4149209076" sldId="431"/>
            <ac:graphicFrameMk id="7" creationId="{C9872F59-0A6E-6449-94F7-0CF6C97B4C81}"/>
          </ac:graphicFrameMkLst>
        </pc:graphicFrameChg>
      </pc:sldChg>
      <pc:sldChg chg="addSp delSp modSp add del ord">
        <pc:chgData name="Christopher Schulz" userId="c7a37fbc-fc18-47fa-bc4e-1f96df76f530" providerId="ADAL" clId="{D3475D91-1DB2-6340-86DE-860237F9C8A3}" dt="2019-10-19T18:45:26.420" v="5675" actId="2696"/>
        <pc:sldMkLst>
          <pc:docMk/>
          <pc:sldMk cId="3886120189" sldId="432"/>
        </pc:sldMkLst>
        <pc:graphicFrameChg chg="add del mod modGraphic">
          <ac:chgData name="Christopher Schulz" userId="c7a37fbc-fc18-47fa-bc4e-1f96df76f530" providerId="ADAL" clId="{D3475D91-1DB2-6340-86DE-860237F9C8A3}" dt="2019-10-19T18:44:09.802" v="5665" actId="478"/>
          <ac:graphicFrameMkLst>
            <pc:docMk/>
            <pc:sldMk cId="3886120189" sldId="432"/>
            <ac:graphicFrameMk id="4" creationId="{412162A5-92A0-5248-9285-9C84689E745E}"/>
          </ac:graphicFrameMkLst>
        </pc:graphicFrameChg>
        <pc:graphicFrameChg chg="add mod">
          <ac:chgData name="Christopher Schulz" userId="c7a37fbc-fc18-47fa-bc4e-1f96df76f530" providerId="ADAL" clId="{D3475D91-1DB2-6340-86DE-860237F9C8A3}" dt="2019-10-19T18:44:22.248" v="5668" actId="1076"/>
          <ac:graphicFrameMkLst>
            <pc:docMk/>
            <pc:sldMk cId="3886120189" sldId="432"/>
            <ac:graphicFrameMk id="5" creationId="{D4D763AA-AA5F-F54D-B60D-F3FC50ECCA2D}"/>
          </ac:graphicFrameMkLst>
        </pc:graphicFrameChg>
      </pc:sldChg>
      <pc:sldChg chg="addSp modSp add ord">
        <pc:chgData name="Christopher Schulz" userId="c7a37fbc-fc18-47fa-bc4e-1f96df76f530" providerId="ADAL" clId="{D3475D91-1DB2-6340-86DE-860237F9C8A3}" dt="2019-10-19T18:59:17.044" v="6022" actId="20577"/>
        <pc:sldMkLst>
          <pc:docMk/>
          <pc:sldMk cId="2682155137" sldId="433"/>
        </pc:sldMkLst>
        <pc:graphicFrameChg chg="add mod modGraphic">
          <ac:chgData name="Christopher Schulz" userId="c7a37fbc-fc18-47fa-bc4e-1f96df76f530" providerId="ADAL" clId="{D3475D91-1DB2-6340-86DE-860237F9C8A3}" dt="2019-10-19T18:59:17.044" v="6022" actId="20577"/>
          <ac:graphicFrameMkLst>
            <pc:docMk/>
            <pc:sldMk cId="2682155137" sldId="433"/>
            <ac:graphicFrameMk id="4" creationId="{C40E432C-AA28-D749-BB85-FFA7057CDF3E}"/>
          </ac:graphicFrameMkLst>
        </pc:graphicFrameChg>
        <pc:graphicFrameChg chg="add modGraphic">
          <ac:chgData name="Christopher Schulz" userId="c7a37fbc-fc18-47fa-bc4e-1f96df76f530" providerId="ADAL" clId="{D3475D91-1DB2-6340-86DE-860237F9C8A3}" dt="2019-10-17T06:14:27.751" v="3015" actId="13926"/>
          <ac:graphicFrameMkLst>
            <pc:docMk/>
            <pc:sldMk cId="2682155137" sldId="433"/>
            <ac:graphicFrameMk id="5" creationId="{10E0FAC1-310C-0143-AD00-556F6A0E79CB}"/>
          </ac:graphicFrameMkLst>
        </pc:graphicFrameChg>
      </pc:sldChg>
      <pc:sldChg chg="modSp add">
        <pc:chgData name="Christopher Schulz" userId="c7a37fbc-fc18-47fa-bc4e-1f96df76f530" providerId="ADAL" clId="{D3475D91-1DB2-6340-86DE-860237F9C8A3}" dt="2019-10-17T05:18:33.849" v="228" actId="20577"/>
        <pc:sldMkLst>
          <pc:docMk/>
          <pc:sldMk cId="3859421926" sldId="434"/>
        </pc:sldMkLst>
        <pc:spChg chg="mod">
          <ac:chgData name="Christopher Schulz" userId="c7a37fbc-fc18-47fa-bc4e-1f96df76f530" providerId="ADAL" clId="{D3475D91-1DB2-6340-86DE-860237F9C8A3}" dt="2019-10-17T05:18:06.124" v="152" actId="20577"/>
          <ac:spMkLst>
            <pc:docMk/>
            <pc:sldMk cId="3859421926" sldId="434"/>
            <ac:spMk id="2" creationId="{8C1B6A6A-451E-DD48-AB87-7C9009A7BAE8}"/>
          </ac:spMkLst>
        </pc:spChg>
        <pc:spChg chg="mod">
          <ac:chgData name="Christopher Schulz" userId="c7a37fbc-fc18-47fa-bc4e-1f96df76f530" providerId="ADAL" clId="{D3475D91-1DB2-6340-86DE-860237F9C8A3}" dt="2019-10-17T05:18:21.918" v="190" actId="20577"/>
          <ac:spMkLst>
            <pc:docMk/>
            <pc:sldMk cId="3859421926" sldId="434"/>
            <ac:spMk id="3" creationId="{DCCC5E82-FB56-CD41-AE7F-650A9A9C8DAC}"/>
          </ac:spMkLst>
        </pc:spChg>
        <pc:spChg chg="mod">
          <ac:chgData name="Christopher Schulz" userId="c7a37fbc-fc18-47fa-bc4e-1f96df76f530" providerId="ADAL" clId="{D3475D91-1DB2-6340-86DE-860237F9C8A3}" dt="2019-10-17T05:18:33.849" v="228" actId="20577"/>
          <ac:spMkLst>
            <pc:docMk/>
            <pc:sldMk cId="3859421926" sldId="434"/>
            <ac:spMk id="4" creationId="{64B54C9F-5CBC-1947-9E78-996503F54723}"/>
          </ac:spMkLst>
        </pc:spChg>
      </pc:sldChg>
      <pc:sldChg chg="modSp add del">
        <pc:chgData name="Christopher Schulz" userId="c7a37fbc-fc18-47fa-bc4e-1f96df76f530" providerId="ADAL" clId="{D3475D91-1DB2-6340-86DE-860237F9C8A3}" dt="2019-10-19T18:45:01.998" v="5670" actId="2696"/>
        <pc:sldMkLst>
          <pc:docMk/>
          <pc:sldMk cId="2726336956" sldId="435"/>
        </pc:sldMkLst>
        <pc:spChg chg="mod">
          <ac:chgData name="Christopher Schulz" userId="c7a37fbc-fc18-47fa-bc4e-1f96df76f530" providerId="ADAL" clId="{D3475D91-1DB2-6340-86DE-860237F9C8A3}" dt="2019-10-17T06:02:38.275" v="2319" actId="20577"/>
          <ac:spMkLst>
            <pc:docMk/>
            <pc:sldMk cId="2726336956" sldId="435"/>
            <ac:spMk id="2" creationId="{DDF4D348-66C2-B949-8982-4013212F48D4}"/>
          </ac:spMkLst>
        </pc:spChg>
        <pc:spChg chg="mod">
          <ac:chgData name="Christopher Schulz" userId="c7a37fbc-fc18-47fa-bc4e-1f96df76f530" providerId="ADAL" clId="{D3475D91-1DB2-6340-86DE-860237F9C8A3}" dt="2019-10-17T06:02:32.615" v="2298" actId="27636"/>
          <ac:spMkLst>
            <pc:docMk/>
            <pc:sldMk cId="2726336956" sldId="435"/>
            <ac:spMk id="3" creationId="{0A279E3D-2167-9D4D-978E-634486823993}"/>
          </ac:spMkLst>
        </pc:spChg>
        <pc:spChg chg="mod">
          <ac:chgData name="Christopher Schulz" userId="c7a37fbc-fc18-47fa-bc4e-1f96df76f530" providerId="ADAL" clId="{D3475D91-1DB2-6340-86DE-860237F9C8A3}" dt="2019-10-17T06:02:43.456" v="2347" actId="20577"/>
          <ac:spMkLst>
            <pc:docMk/>
            <pc:sldMk cId="2726336956" sldId="435"/>
            <ac:spMk id="4" creationId="{16D016F1-0A97-1740-B852-C2DAC1C628CC}"/>
          </ac:spMkLst>
        </pc:spChg>
      </pc:sldChg>
      <pc:sldChg chg="addSp delSp modSp add ord">
        <pc:chgData name="Christopher Schulz" userId="c7a37fbc-fc18-47fa-bc4e-1f96df76f530" providerId="ADAL" clId="{D3475D91-1DB2-6340-86DE-860237F9C8A3}" dt="2019-10-17T06:30:59.248" v="3842"/>
        <pc:sldMkLst>
          <pc:docMk/>
          <pc:sldMk cId="1472519979" sldId="436"/>
        </pc:sldMkLst>
        <pc:spChg chg="mod">
          <ac:chgData name="Christopher Schulz" userId="c7a37fbc-fc18-47fa-bc4e-1f96df76f530" providerId="ADAL" clId="{D3475D91-1DB2-6340-86DE-860237F9C8A3}" dt="2019-10-17T06:26:16.809" v="3596" actId="20577"/>
          <ac:spMkLst>
            <pc:docMk/>
            <pc:sldMk cId="1472519979" sldId="436"/>
            <ac:spMk id="2" creationId="{6D202977-80CB-8D49-9114-5E34A0AD02D3}"/>
          </ac:spMkLst>
        </pc:spChg>
        <pc:spChg chg="mod">
          <ac:chgData name="Christopher Schulz" userId="c7a37fbc-fc18-47fa-bc4e-1f96df76f530" providerId="ADAL" clId="{D3475D91-1DB2-6340-86DE-860237F9C8A3}" dt="2019-10-17T06:26:27.041" v="3648" actId="20577"/>
          <ac:spMkLst>
            <pc:docMk/>
            <pc:sldMk cId="1472519979" sldId="436"/>
            <ac:spMk id="3" creationId="{AA7F89C0-AD47-2F41-ADB5-148CE4D47C23}"/>
          </ac:spMkLst>
        </pc:spChg>
        <pc:spChg chg="del">
          <ac:chgData name="Christopher Schulz" userId="c7a37fbc-fc18-47fa-bc4e-1f96df76f530" providerId="ADAL" clId="{D3475D91-1DB2-6340-86DE-860237F9C8A3}" dt="2019-10-17T06:26:43.188" v="3649" actId="478"/>
          <ac:spMkLst>
            <pc:docMk/>
            <pc:sldMk cId="1472519979" sldId="436"/>
            <ac:spMk id="4" creationId="{BF2D8D54-868C-544C-8CC8-41327F85EDAC}"/>
          </ac:spMkLst>
        </pc:spChg>
        <pc:spChg chg="add del">
          <ac:chgData name="Christopher Schulz" userId="c7a37fbc-fc18-47fa-bc4e-1f96df76f530" providerId="ADAL" clId="{D3475D91-1DB2-6340-86DE-860237F9C8A3}" dt="2019-10-17T06:26:48.149" v="3651"/>
          <ac:spMkLst>
            <pc:docMk/>
            <pc:sldMk cId="1472519979" sldId="436"/>
            <ac:spMk id="6" creationId="{67660D5F-EA1F-5342-AB33-AFB24B9BBCEE}"/>
          </ac:spMkLst>
        </pc:spChg>
        <pc:spChg chg="add del">
          <ac:chgData name="Christopher Schulz" userId="c7a37fbc-fc18-47fa-bc4e-1f96df76f530" providerId="ADAL" clId="{D3475D91-1DB2-6340-86DE-860237F9C8A3}" dt="2019-10-17T06:26:48.149" v="3651"/>
          <ac:spMkLst>
            <pc:docMk/>
            <pc:sldMk cId="1472519979" sldId="436"/>
            <ac:spMk id="7" creationId="{1D5F4CEF-F2E5-A342-B210-2138015BD24F}"/>
          </ac:spMkLst>
        </pc:spChg>
        <pc:spChg chg="add mod">
          <ac:chgData name="Christopher Schulz" userId="c7a37fbc-fc18-47fa-bc4e-1f96df76f530" providerId="ADAL" clId="{D3475D91-1DB2-6340-86DE-860237F9C8A3}" dt="2019-10-17T06:30:43.641" v="3840" actId="207"/>
          <ac:spMkLst>
            <pc:docMk/>
            <pc:sldMk cId="1472519979" sldId="436"/>
            <ac:spMk id="9" creationId="{CF9ADDBA-443B-204E-B32A-778FA29DB81E}"/>
          </ac:spMkLst>
        </pc:spChg>
        <pc:spChg chg="add mod">
          <ac:chgData name="Christopher Schulz" userId="c7a37fbc-fc18-47fa-bc4e-1f96df76f530" providerId="ADAL" clId="{D3475D91-1DB2-6340-86DE-860237F9C8A3}" dt="2019-10-17T06:30:49.878" v="3841" actId="14100"/>
          <ac:spMkLst>
            <pc:docMk/>
            <pc:sldMk cId="1472519979" sldId="436"/>
            <ac:spMk id="10" creationId="{274B8FD3-DE57-F04F-8CE3-DD4FB0B74771}"/>
          </ac:spMkLst>
        </pc:spChg>
        <pc:picChg chg="add del">
          <ac:chgData name="Christopher Schulz" userId="c7a37fbc-fc18-47fa-bc4e-1f96df76f530" providerId="ADAL" clId="{D3475D91-1DB2-6340-86DE-860237F9C8A3}" dt="2019-10-17T06:26:48.149" v="3651"/>
          <ac:picMkLst>
            <pc:docMk/>
            <pc:sldMk cId="1472519979" sldId="436"/>
            <ac:picMk id="5" creationId="{664DBF75-1416-DF41-BDB4-88F55DE36E17}"/>
          </ac:picMkLst>
        </pc:picChg>
        <pc:picChg chg="add">
          <ac:chgData name="Christopher Schulz" userId="c7a37fbc-fc18-47fa-bc4e-1f96df76f530" providerId="ADAL" clId="{D3475D91-1DB2-6340-86DE-860237F9C8A3}" dt="2019-10-17T06:26:58.154" v="3654"/>
          <ac:picMkLst>
            <pc:docMk/>
            <pc:sldMk cId="1472519979" sldId="436"/>
            <ac:picMk id="8" creationId="{85906011-DFCF-6E41-8E6C-974E178A2AE4}"/>
          </ac:picMkLst>
        </pc:picChg>
      </pc:sldChg>
      <pc:sldMasterChg chg="delSldLayout">
        <pc:chgData name="Christopher Schulz" userId="c7a37fbc-fc18-47fa-bc4e-1f96df76f530" providerId="ADAL" clId="{D3475D91-1DB2-6340-86DE-860237F9C8A3}" dt="2019-10-17T05:16:54.812" v="119" actId="2696"/>
        <pc:sldMasterMkLst>
          <pc:docMk/>
          <pc:sldMasterMk cId="0" sldId="2147483648"/>
        </pc:sldMasterMkLst>
      </pc:sldMasterChg>
    </pc:docChg>
  </pc:docChgLst>
  <pc:docChgLst>
    <pc:chgData name="Christopher Schulz" userId="c7a37fbc-fc18-47fa-bc4e-1f96df76f530" providerId="ADAL" clId="{07909D77-401E-5946-9962-B79D43D8EA0D}"/>
    <pc:docChg chg="undo custSel delSld modSld">
      <pc:chgData name="Christopher Schulz" userId="c7a37fbc-fc18-47fa-bc4e-1f96df76f530" providerId="ADAL" clId="{07909D77-401E-5946-9962-B79D43D8EA0D}" dt="2020-02-13T18:17:06.195" v="856" actId="20577"/>
      <pc:docMkLst>
        <pc:docMk/>
      </pc:docMkLst>
      <pc:sldChg chg="addSp delSp modSp">
        <pc:chgData name="Christopher Schulz" userId="c7a37fbc-fc18-47fa-bc4e-1f96df76f530" providerId="ADAL" clId="{07909D77-401E-5946-9962-B79D43D8EA0D}" dt="2020-02-13T18:17:06.195" v="856" actId="20577"/>
        <pc:sldMkLst>
          <pc:docMk/>
          <pc:sldMk cId="3168066364" sldId="256"/>
        </pc:sldMkLst>
        <pc:spChg chg="mod">
          <ac:chgData name="Christopher Schulz" userId="c7a37fbc-fc18-47fa-bc4e-1f96df76f530" providerId="ADAL" clId="{07909D77-401E-5946-9962-B79D43D8EA0D}" dt="2020-02-13T14:43:04.068" v="652" actId="790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07909D77-401E-5946-9962-B79D43D8EA0D}" dt="2020-02-13T14:42:59.719" v="651" actId="20577"/>
          <ac:spMkLst>
            <pc:docMk/>
            <pc:sldMk cId="3168066364" sldId="256"/>
            <ac:spMk id="3" creationId="{5F0B0340-28DE-4C04-BA5A-1EB9C2F0782D}"/>
          </ac:spMkLst>
        </pc:spChg>
        <pc:spChg chg="add mod">
          <ac:chgData name="Christopher Schulz" userId="c7a37fbc-fc18-47fa-bc4e-1f96df76f530" providerId="ADAL" clId="{07909D77-401E-5946-9962-B79D43D8EA0D}" dt="2020-02-13T18:16:24.779" v="832" actId="1038"/>
          <ac:spMkLst>
            <pc:docMk/>
            <pc:sldMk cId="3168066364" sldId="256"/>
            <ac:spMk id="4" creationId="{EBA4A055-C615-2444-9C59-062382808570}"/>
          </ac:spMkLst>
        </pc:spChg>
        <pc:spChg chg="mod">
          <ac:chgData name="Christopher Schulz" userId="c7a37fbc-fc18-47fa-bc4e-1f96df76f530" providerId="ADAL" clId="{07909D77-401E-5946-9962-B79D43D8EA0D}" dt="2020-02-13T14:37:39.894" v="536" actId="20577"/>
          <ac:spMkLst>
            <pc:docMk/>
            <pc:sldMk cId="3168066364" sldId="256"/>
            <ac:spMk id="9" creationId="{2CFC355E-1952-E84D-BA17-53C79032133E}"/>
          </ac:spMkLst>
        </pc:spChg>
        <pc:spChg chg="add mod">
          <ac:chgData name="Christopher Schulz" userId="c7a37fbc-fc18-47fa-bc4e-1f96df76f530" providerId="ADAL" clId="{07909D77-401E-5946-9962-B79D43D8EA0D}" dt="2020-02-13T18:17:06.195" v="856" actId="20577"/>
          <ac:spMkLst>
            <pc:docMk/>
            <pc:sldMk cId="3168066364" sldId="256"/>
            <ac:spMk id="11" creationId="{525ECC90-7F91-6F43-81FF-C86B4F03525F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12" creationId="{7C3701C7-6723-5F40-B891-CB0B03C32712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20" creationId="{3B447BF1-B6C2-4548-909F-A281C6E6FC34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24" creationId="{F469DF17-2AF0-AF40-91B7-08D6816BC626}"/>
          </ac:spMkLst>
        </pc:spChg>
        <pc:spChg chg="add del mod">
          <ac:chgData name="Christopher Schulz" userId="c7a37fbc-fc18-47fa-bc4e-1f96df76f530" providerId="ADAL" clId="{07909D77-401E-5946-9962-B79D43D8EA0D}" dt="2020-02-13T14:28:36.726" v="240" actId="478"/>
          <ac:spMkLst>
            <pc:docMk/>
            <pc:sldMk cId="3168066364" sldId="256"/>
            <ac:spMk id="40" creationId="{54105BF7-445E-9445-A8CB-983FCA514E0C}"/>
          </ac:spMkLst>
        </pc:spChg>
        <pc:spChg chg="add del mod">
          <ac:chgData name="Christopher Schulz" userId="c7a37fbc-fc18-47fa-bc4e-1f96df76f530" providerId="ADAL" clId="{07909D77-401E-5946-9962-B79D43D8EA0D}" dt="2020-02-13T14:28:36.726" v="240" actId="478"/>
          <ac:spMkLst>
            <pc:docMk/>
            <pc:sldMk cId="3168066364" sldId="256"/>
            <ac:spMk id="41" creationId="{ABA4D77A-DA35-5143-97B5-15110F03F52E}"/>
          </ac:spMkLst>
        </pc:spChg>
        <pc:spChg chg="add del mod">
          <ac:chgData name="Christopher Schulz" userId="c7a37fbc-fc18-47fa-bc4e-1f96df76f530" providerId="ADAL" clId="{07909D77-401E-5946-9962-B79D43D8EA0D}" dt="2020-02-13T14:28:50.015" v="256"/>
          <ac:spMkLst>
            <pc:docMk/>
            <pc:sldMk cId="3168066364" sldId="256"/>
            <ac:spMk id="42" creationId="{A048750F-15F4-DB4B-8047-FD324E51E250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47" creationId="{76579BF3-EB21-144E-8E9F-47C0CD03AF43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48" creationId="{089310DF-EB75-9F4D-8F3E-44D7BECDFF9A}"/>
          </ac:spMkLst>
        </pc:spChg>
        <pc:spChg chg="add mod">
          <ac:chgData name="Christopher Schulz" userId="c7a37fbc-fc18-47fa-bc4e-1f96df76f530" providerId="ADAL" clId="{07909D77-401E-5946-9962-B79D43D8EA0D}" dt="2020-02-13T18:16:22.041" v="829" actId="1076"/>
          <ac:spMkLst>
            <pc:docMk/>
            <pc:sldMk cId="3168066364" sldId="256"/>
            <ac:spMk id="52" creationId="{AAD92057-2808-7D45-91CF-78137E99BE07}"/>
          </ac:spMkLst>
        </pc:spChg>
        <pc:spChg chg="add mod">
          <ac:chgData name="Christopher Schulz" userId="c7a37fbc-fc18-47fa-bc4e-1f96df76f530" providerId="ADAL" clId="{07909D77-401E-5946-9962-B79D43D8EA0D}" dt="2020-02-13T18:16:22.041" v="829" actId="1076"/>
          <ac:spMkLst>
            <pc:docMk/>
            <pc:sldMk cId="3168066364" sldId="256"/>
            <ac:spMk id="55" creationId="{EB76A127-E6B2-FC40-A1E8-B7F7EB192480}"/>
          </ac:spMkLst>
        </pc:spChg>
        <pc:spChg chg="add mod">
          <ac:chgData name="Christopher Schulz" userId="c7a37fbc-fc18-47fa-bc4e-1f96df76f530" providerId="ADAL" clId="{07909D77-401E-5946-9962-B79D43D8EA0D}" dt="2020-02-13T14:46:08.451" v="818" actId="1076"/>
          <ac:spMkLst>
            <pc:docMk/>
            <pc:sldMk cId="3168066364" sldId="256"/>
            <ac:spMk id="56" creationId="{10D63E0A-4BE3-A147-A2CA-128028B6D9C3}"/>
          </ac:spMkLst>
        </pc:spChg>
        <pc:spChg chg="add mod">
          <ac:chgData name="Christopher Schulz" userId="c7a37fbc-fc18-47fa-bc4e-1f96df76f530" providerId="ADAL" clId="{07909D77-401E-5946-9962-B79D43D8EA0D}" dt="2020-02-13T14:46:03.172" v="817" actId="1076"/>
          <ac:spMkLst>
            <pc:docMk/>
            <pc:sldMk cId="3168066364" sldId="256"/>
            <ac:spMk id="57" creationId="{1B0EE509-73DD-6E49-8828-0A28D8365F73}"/>
          </ac:spMkLst>
        </pc:spChg>
        <pc:spChg chg="add mod">
          <ac:chgData name="Christopher Schulz" userId="c7a37fbc-fc18-47fa-bc4e-1f96df76f530" providerId="ADAL" clId="{07909D77-401E-5946-9962-B79D43D8EA0D}" dt="2020-02-13T14:47:16.814" v="826" actId="1076"/>
          <ac:spMkLst>
            <pc:docMk/>
            <pc:sldMk cId="3168066364" sldId="256"/>
            <ac:spMk id="58" creationId="{7B2020FF-33DE-E045-A93A-75BF2EBDBA32}"/>
          </ac:spMkLst>
        </pc:spChg>
        <pc:spChg chg="add mod">
          <ac:chgData name="Christopher Schulz" userId="c7a37fbc-fc18-47fa-bc4e-1f96df76f530" providerId="ADAL" clId="{07909D77-401E-5946-9962-B79D43D8EA0D}" dt="2020-02-13T14:47:09.571" v="824" actId="1076"/>
          <ac:spMkLst>
            <pc:docMk/>
            <pc:sldMk cId="3168066364" sldId="256"/>
            <ac:spMk id="63" creationId="{0F54640C-E12E-D44F-BE3B-B5C1D3A3F457}"/>
          </ac:spMkLst>
        </pc:spChg>
        <pc:graphicFrameChg chg="del">
          <ac:chgData name="Christopher Schulz" userId="c7a37fbc-fc18-47fa-bc4e-1f96df76f530" providerId="ADAL" clId="{07909D77-401E-5946-9962-B79D43D8EA0D}" dt="2020-02-13T14:20:22.857" v="70" actId="478"/>
          <ac:graphicFrameMkLst>
            <pc:docMk/>
            <pc:sldMk cId="3168066364" sldId="256"/>
            <ac:graphicFrameMk id="6" creationId="{78112048-7899-1C44-B8EC-A001E6C13E15}"/>
          </ac:graphicFrameMkLst>
        </pc:graphicFrameChg>
        <pc:graphicFrameChg chg="del">
          <ac:chgData name="Christopher Schulz" userId="c7a37fbc-fc18-47fa-bc4e-1f96df76f530" providerId="ADAL" clId="{07909D77-401E-5946-9962-B79D43D8EA0D}" dt="2020-02-13T14:20:22.857" v="70" actId="478"/>
          <ac:graphicFrameMkLst>
            <pc:docMk/>
            <pc:sldMk cId="3168066364" sldId="256"/>
            <ac:graphicFrameMk id="7" creationId="{CAD18F1B-98FB-EB44-B6EA-BE897FC3E456}"/>
          </ac:graphicFrameMkLst>
        </pc:graphicFrameChg>
        <pc:picChg chg="del">
          <ac:chgData name="Christopher Schulz" userId="c7a37fbc-fc18-47fa-bc4e-1f96df76f530" providerId="ADAL" clId="{07909D77-401E-5946-9962-B79D43D8EA0D}" dt="2020-02-13T14:20:22.857" v="70" actId="478"/>
          <ac:picMkLst>
            <pc:docMk/>
            <pc:sldMk cId="3168066364" sldId="256"/>
            <ac:picMk id="8" creationId="{859A143B-A9FE-5B4C-8403-450E9D19B681}"/>
          </ac:picMkLst>
        </pc:picChg>
        <pc:picChg chg="del">
          <ac:chgData name="Christopher Schulz" userId="c7a37fbc-fc18-47fa-bc4e-1f96df76f530" providerId="ADAL" clId="{07909D77-401E-5946-9962-B79D43D8EA0D}" dt="2020-02-13T14:20:22.857" v="70" actId="478"/>
          <ac:picMkLst>
            <pc:docMk/>
            <pc:sldMk cId="3168066364" sldId="256"/>
            <ac:picMk id="10" creationId="{D50F8B04-D52E-D14A-9520-3709A897368F}"/>
          </ac:picMkLst>
        </pc:picChg>
        <pc:picChg chg="add del mod">
          <ac:chgData name="Christopher Schulz" userId="c7a37fbc-fc18-47fa-bc4e-1f96df76f530" providerId="ADAL" clId="{07909D77-401E-5946-9962-B79D43D8EA0D}" dt="2020-02-13T14:41:12.155" v="567" actId="478"/>
          <ac:picMkLst>
            <pc:docMk/>
            <pc:sldMk cId="3168066364" sldId="256"/>
            <ac:picMk id="65" creationId="{CC3B2B9C-965B-194A-ABFB-316C6D5C34C1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67" creationId="{21F0E87E-9B89-C342-AD8D-A812BF83D754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69" creationId="{49CD0D3F-AB96-8246-8408-5FAFF9B497B7}"/>
          </ac:picMkLst>
        </pc:picChg>
        <pc:picChg chg="add del mod">
          <ac:chgData name="Christopher Schulz" userId="c7a37fbc-fc18-47fa-bc4e-1f96df76f530" providerId="ADAL" clId="{07909D77-401E-5946-9962-B79D43D8EA0D}" dt="2020-02-13T14:41:12.155" v="567" actId="478"/>
          <ac:picMkLst>
            <pc:docMk/>
            <pc:sldMk cId="3168066364" sldId="256"/>
            <ac:picMk id="71" creationId="{BD2BEEAE-D043-574E-B28E-DD4913AC4689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73" creationId="{8F1F2886-5F91-A849-92C8-398E3F7B5350}"/>
          </ac:picMkLst>
        </pc:picChg>
        <pc:picChg chg="add mod">
          <ac:chgData name="Christopher Schulz" userId="c7a37fbc-fc18-47fa-bc4e-1f96df76f530" providerId="ADAL" clId="{07909D77-401E-5946-9962-B79D43D8EA0D}" dt="2020-02-13T14:46:03.172" v="817" actId="1076"/>
          <ac:picMkLst>
            <pc:docMk/>
            <pc:sldMk cId="3168066364" sldId="256"/>
            <ac:picMk id="75" creationId="{61A481AC-2C84-634E-889D-B57122DAE414}"/>
          </ac:picMkLst>
        </pc:picChg>
        <pc:cxnChg chg="add mod">
          <ac:chgData name="Christopher Schulz" userId="c7a37fbc-fc18-47fa-bc4e-1f96df76f530" providerId="ADAL" clId="{07909D77-401E-5946-9962-B79D43D8EA0D}" dt="2020-02-13T18:16:24.779" v="832" actId="1038"/>
          <ac:cxnSpMkLst>
            <pc:docMk/>
            <pc:sldMk cId="3168066364" sldId="256"/>
            <ac:cxnSpMk id="13" creationId="{276038E9-BA9E-2744-B068-8E99E3FDAD2E}"/>
          </ac:cxnSpMkLst>
        </pc:cxnChg>
        <pc:cxnChg chg="add mod">
          <ac:chgData name="Christopher Schulz" userId="c7a37fbc-fc18-47fa-bc4e-1f96df76f530" providerId="ADAL" clId="{07909D77-401E-5946-9962-B79D43D8EA0D}" dt="2020-02-13T18:16:24.779" v="832" actId="1038"/>
          <ac:cxnSpMkLst>
            <pc:docMk/>
            <pc:sldMk cId="3168066364" sldId="256"/>
            <ac:cxnSpMk id="15" creationId="{D0E8B1AC-D997-CA4A-88CB-E2A2065DBD22}"/>
          </ac:cxnSpMkLst>
        </pc:cxnChg>
        <pc:cxnChg chg="add del mod">
          <ac:chgData name="Christopher Schulz" userId="c7a37fbc-fc18-47fa-bc4e-1f96df76f530" providerId="ADAL" clId="{07909D77-401E-5946-9962-B79D43D8EA0D}" dt="2020-02-13T14:23:13.101" v="158" actId="478"/>
          <ac:cxnSpMkLst>
            <pc:docMk/>
            <pc:sldMk cId="3168066364" sldId="256"/>
            <ac:cxnSpMk id="17" creationId="{152B474B-1385-C640-8D90-E90EE0944AC3}"/>
          </ac:cxnSpMkLst>
        </pc:cxnChg>
        <pc:cxnChg chg="add mod">
          <ac:chgData name="Christopher Schulz" userId="c7a37fbc-fc18-47fa-bc4e-1f96df76f530" providerId="ADAL" clId="{07909D77-401E-5946-9962-B79D43D8EA0D}" dt="2020-02-13T18:16:24.779" v="832" actId="1038"/>
          <ac:cxnSpMkLst>
            <pc:docMk/>
            <pc:sldMk cId="3168066364" sldId="256"/>
            <ac:cxnSpMk id="19" creationId="{1A447975-C2F0-7A43-BCA5-6679E37A6083}"/>
          </ac:cxnSpMkLst>
        </pc:cxnChg>
        <pc:cxnChg chg="add mod">
          <ac:chgData name="Christopher Schulz" userId="c7a37fbc-fc18-47fa-bc4e-1f96df76f530" providerId="ADAL" clId="{07909D77-401E-5946-9962-B79D43D8EA0D}" dt="2020-02-13T14:47:00.896" v="822" actId="14100"/>
          <ac:cxnSpMkLst>
            <pc:docMk/>
            <pc:sldMk cId="3168066364" sldId="256"/>
            <ac:cxnSpMk id="25" creationId="{D9142291-DC66-4C46-A135-9CC157BF6704}"/>
          </ac:cxnSpMkLst>
        </pc:cxnChg>
        <pc:cxnChg chg="add mod">
          <ac:chgData name="Christopher Schulz" userId="c7a37fbc-fc18-47fa-bc4e-1f96df76f530" providerId="ADAL" clId="{07909D77-401E-5946-9962-B79D43D8EA0D}" dt="2020-02-13T14:46:53.808" v="820" actId="14100"/>
          <ac:cxnSpMkLst>
            <pc:docMk/>
            <pc:sldMk cId="3168066364" sldId="256"/>
            <ac:cxnSpMk id="28" creationId="{22EA9298-ABC5-574E-8E7F-8313A1C8E1F3}"/>
          </ac:cxnSpMkLst>
        </pc:cxnChg>
        <pc:cxnChg chg="add mod">
          <ac:chgData name="Christopher Schulz" userId="c7a37fbc-fc18-47fa-bc4e-1f96df76f530" providerId="ADAL" clId="{07909D77-401E-5946-9962-B79D43D8EA0D}" dt="2020-02-13T14:47:14.384" v="825" actId="14100"/>
          <ac:cxnSpMkLst>
            <pc:docMk/>
            <pc:sldMk cId="3168066364" sldId="256"/>
            <ac:cxnSpMk id="43" creationId="{580DF897-3A19-3E49-A1D0-33F6FDC8861C}"/>
          </ac:cxnSpMkLst>
        </pc:cxnChg>
        <pc:cxnChg chg="add mod">
          <ac:chgData name="Christopher Schulz" userId="c7a37fbc-fc18-47fa-bc4e-1f96df76f530" providerId="ADAL" clId="{07909D77-401E-5946-9962-B79D43D8EA0D}" dt="2020-02-13T14:47:06.221" v="823" actId="14100"/>
          <ac:cxnSpMkLst>
            <pc:docMk/>
            <pc:sldMk cId="3168066364" sldId="256"/>
            <ac:cxnSpMk id="45" creationId="{59AD6A25-97F8-074F-9989-46709164F64A}"/>
          </ac:cxnSpMkLst>
        </pc:cxnChg>
      </pc:sldChg>
      <pc:sldChg chg="modSp">
        <pc:chgData name="Christopher Schulz" userId="c7a37fbc-fc18-47fa-bc4e-1f96df76f530" providerId="ADAL" clId="{07909D77-401E-5946-9962-B79D43D8EA0D}" dt="2020-02-13T14:45:11.791" v="816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07909D77-401E-5946-9962-B79D43D8EA0D}" dt="2020-02-13T14:45:11.791" v="816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del">
        <pc:chgData name="Christopher Schulz" userId="c7a37fbc-fc18-47fa-bc4e-1f96df76f530" providerId="ADAL" clId="{07909D77-401E-5946-9962-B79D43D8EA0D}" dt="2020-02-13T14:43:06.885" v="653" actId="2696"/>
        <pc:sldMkLst>
          <pc:docMk/>
          <pc:sldMk cId="3192340078" sldId="439"/>
        </pc:sldMkLst>
      </pc:sldChg>
      <pc:sldChg chg="addSp delSp modSp">
        <pc:chgData name="Christopher Schulz" userId="c7a37fbc-fc18-47fa-bc4e-1f96df76f530" providerId="ADAL" clId="{07909D77-401E-5946-9962-B79D43D8EA0D}" dt="2020-02-13T14:42:39.821" v="601" actId="790"/>
        <pc:sldMkLst>
          <pc:docMk/>
          <pc:sldMk cId="3209056058" sldId="440"/>
        </pc:sldMkLst>
        <pc:spChg chg="add del mod">
          <ac:chgData name="Christopher Schulz" userId="c7a37fbc-fc18-47fa-bc4e-1f96df76f530" providerId="ADAL" clId="{07909D77-401E-5946-9962-B79D43D8EA0D}" dt="2020-02-13T14:17:52.809" v="39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07909D77-401E-5946-9962-B79D43D8EA0D}" dt="2020-02-13T14:42:39.821" v="601" actId="790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07909D77-401E-5946-9962-B79D43D8EA0D}" dt="2020-02-13T14:12:59.963" v="3" actId="478"/>
          <ac:picMkLst>
            <pc:docMk/>
            <pc:sldMk cId="3209056058" sldId="440"/>
            <ac:picMk id="2" creationId="{C2CEF475-9A19-4341-ADF8-E13142A5A511}"/>
          </ac:picMkLst>
        </pc:picChg>
        <pc:picChg chg="add del mod">
          <ac:chgData name="Christopher Schulz" userId="c7a37fbc-fc18-47fa-bc4e-1f96df76f530" providerId="ADAL" clId="{07909D77-401E-5946-9962-B79D43D8EA0D}" dt="2020-02-13T14:13:22.157" v="6" actId="478"/>
          <ac:picMkLst>
            <pc:docMk/>
            <pc:sldMk cId="3209056058" sldId="440"/>
            <ac:picMk id="3" creationId="{41DC4C78-3AF1-974B-98D6-5B824704C6B7}"/>
          </ac:picMkLst>
        </pc:picChg>
        <pc:picChg chg="add del">
          <ac:chgData name="Christopher Schulz" userId="c7a37fbc-fc18-47fa-bc4e-1f96df76f530" providerId="ADAL" clId="{07909D77-401E-5946-9962-B79D43D8EA0D}" dt="2020-02-13T14:13:50.969" v="8" actId="478"/>
          <ac:picMkLst>
            <pc:docMk/>
            <pc:sldMk cId="3209056058" sldId="440"/>
            <ac:picMk id="4" creationId="{BAAA6DFA-B180-AA4A-B323-7F5836D6AD8C}"/>
          </ac:picMkLst>
        </pc:picChg>
        <pc:picChg chg="add mod modCrop">
          <ac:chgData name="Christopher Schulz" userId="c7a37fbc-fc18-47fa-bc4e-1f96df76f530" providerId="ADAL" clId="{07909D77-401E-5946-9962-B79D43D8EA0D}" dt="2020-02-13T14:17:45.501" v="38" actId="167"/>
          <ac:picMkLst>
            <pc:docMk/>
            <pc:sldMk cId="3209056058" sldId="440"/>
            <ac:picMk id="5" creationId="{CB4EEF46-D9DA-C346-B025-B21C8C8541AB}"/>
          </ac:picMkLst>
        </pc:picChg>
      </pc:sldChg>
    </pc:docChg>
  </pc:docChgLst>
  <pc:docChgLst>
    <pc:chgData name="Christopher Schulz" userId="c7a37fbc-fc18-47fa-bc4e-1f96df76f530" providerId="ADAL" clId="{6FE4D6B8-3BBB-624A-A093-BB44A255D63A}"/>
    <pc:docChg chg="undo custSel modSld">
      <pc:chgData name="Christopher Schulz" userId="c7a37fbc-fc18-47fa-bc4e-1f96df76f530" providerId="ADAL" clId="{6FE4D6B8-3BBB-624A-A093-BB44A255D63A}" dt="2020-04-12T10:08:26.209" v="1586" actId="20577"/>
      <pc:docMkLst>
        <pc:docMk/>
      </pc:docMkLst>
      <pc:sldChg chg="addSp delSp modSp">
        <pc:chgData name="Christopher Schulz" userId="c7a37fbc-fc18-47fa-bc4e-1f96df76f530" providerId="ADAL" clId="{6FE4D6B8-3BBB-624A-A093-BB44A255D63A}" dt="2020-04-12T10:00:59.394" v="1241" actId="1076"/>
        <pc:sldMkLst>
          <pc:docMk/>
          <pc:sldMk cId="3168066364" sldId="256"/>
        </pc:sldMkLst>
        <pc:spChg chg="mod">
          <ac:chgData name="Christopher Schulz" userId="c7a37fbc-fc18-47fa-bc4e-1f96df76f530" providerId="ADAL" clId="{6FE4D6B8-3BBB-624A-A093-BB44A255D63A}" dt="2020-04-12T09:33:27.881" v="95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6FE4D6B8-3BBB-624A-A093-BB44A255D63A}" dt="2020-04-12T09:37:27.144" v="305" actId="20577"/>
          <ac:spMkLst>
            <pc:docMk/>
            <pc:sldMk cId="3168066364" sldId="256"/>
            <ac:spMk id="3" creationId="{5F0B0340-28DE-4C04-BA5A-1EB9C2F0782D}"/>
          </ac:spMkLst>
        </pc:spChg>
        <pc:spChg chg="add mod">
          <ac:chgData name="Christopher Schulz" userId="c7a37fbc-fc18-47fa-bc4e-1f96df76f530" providerId="ADAL" clId="{6FE4D6B8-3BBB-624A-A093-BB44A255D63A}" dt="2020-04-12T09:44:45.618" v="475" actId="1076"/>
          <ac:spMkLst>
            <pc:docMk/>
            <pc:sldMk cId="3168066364" sldId="256"/>
            <ac:spMk id="28" creationId="{C21EDED0-9069-634C-A0E9-32024B691909}"/>
          </ac:spMkLst>
        </pc:spChg>
        <pc:spChg chg="add del mod">
          <ac:chgData name="Christopher Schulz" userId="c7a37fbc-fc18-47fa-bc4e-1f96df76f530" providerId="ADAL" clId="{6FE4D6B8-3BBB-624A-A093-BB44A255D63A}" dt="2020-04-12T09:49:07.801" v="742" actId="20577"/>
          <ac:spMkLst>
            <pc:docMk/>
            <pc:sldMk cId="3168066364" sldId="256"/>
            <ac:spMk id="30" creationId="{C506899F-59A4-EF49-B449-F94334D6802E}"/>
          </ac:spMkLst>
        </pc:spChg>
        <pc:spChg chg="add mod">
          <ac:chgData name="Christopher Schulz" userId="c7a37fbc-fc18-47fa-bc4e-1f96df76f530" providerId="ADAL" clId="{6FE4D6B8-3BBB-624A-A093-BB44A255D63A}" dt="2020-04-12T09:44:45.618" v="475" actId="1076"/>
          <ac:spMkLst>
            <pc:docMk/>
            <pc:sldMk cId="3168066364" sldId="256"/>
            <ac:spMk id="32" creationId="{32AAFF07-E7EB-C045-A9A0-AB4531AD1033}"/>
          </ac:spMkLst>
        </pc:spChg>
        <pc:spChg chg="add del mod">
          <ac:chgData name="Christopher Schulz" userId="c7a37fbc-fc18-47fa-bc4e-1f96df76f530" providerId="ADAL" clId="{6FE4D6B8-3BBB-624A-A093-BB44A255D63A}" dt="2020-04-12T09:43:32.734" v="391"/>
          <ac:spMkLst>
            <pc:docMk/>
            <pc:sldMk cId="3168066364" sldId="256"/>
            <ac:spMk id="34" creationId="{6836B762-B27E-2A41-B37C-038FB2227F9D}"/>
          </ac:spMkLst>
        </pc:spChg>
        <pc:spChg chg="add del mod">
          <ac:chgData name="Christopher Schulz" userId="c7a37fbc-fc18-47fa-bc4e-1f96df76f530" providerId="ADAL" clId="{6FE4D6B8-3BBB-624A-A093-BB44A255D63A}" dt="2020-04-12T09:43:32.734" v="391"/>
          <ac:spMkLst>
            <pc:docMk/>
            <pc:sldMk cId="3168066364" sldId="256"/>
            <ac:spMk id="35" creationId="{6BEA0BEA-C111-D34A-AE97-21C288553D3E}"/>
          </ac:spMkLst>
        </pc:spChg>
        <pc:spChg chg="add del mod">
          <ac:chgData name="Christopher Schulz" userId="c7a37fbc-fc18-47fa-bc4e-1f96df76f530" providerId="ADAL" clId="{6FE4D6B8-3BBB-624A-A093-BB44A255D63A}" dt="2020-04-12T09:43:31.936" v="387"/>
          <ac:spMkLst>
            <pc:docMk/>
            <pc:sldMk cId="3168066364" sldId="256"/>
            <ac:spMk id="38" creationId="{9749BF8C-A5CF-E64C-BF79-F374ADE30F8E}"/>
          </ac:spMkLst>
        </pc:spChg>
        <pc:spChg chg="add del">
          <ac:chgData name="Christopher Schulz" userId="c7a37fbc-fc18-47fa-bc4e-1f96df76f530" providerId="ADAL" clId="{6FE4D6B8-3BBB-624A-A093-BB44A255D63A}" dt="2020-04-12T09:44:02.470" v="400"/>
          <ac:spMkLst>
            <pc:docMk/>
            <pc:sldMk cId="3168066364" sldId="256"/>
            <ac:spMk id="40" creationId="{CB70A78A-87C5-6544-AA22-D36D664CF48D}"/>
          </ac:spMkLst>
        </pc:spChg>
        <pc:spChg chg="add">
          <ac:chgData name="Christopher Schulz" userId="c7a37fbc-fc18-47fa-bc4e-1f96df76f530" providerId="ADAL" clId="{6FE4D6B8-3BBB-624A-A093-BB44A255D63A}" dt="2020-04-12T09:44:09.339" v="401"/>
          <ac:spMkLst>
            <pc:docMk/>
            <pc:sldMk cId="3168066364" sldId="256"/>
            <ac:spMk id="42" creationId="{4ECF8CB9-A002-ED4B-8899-4B45127077F4}"/>
          </ac:spMkLst>
        </pc:spChg>
        <pc:spChg chg="add mod">
          <ac:chgData name="Christopher Schulz" userId="c7a37fbc-fc18-47fa-bc4e-1f96df76f530" providerId="ADAL" clId="{6FE4D6B8-3BBB-624A-A093-BB44A255D63A}" dt="2020-04-12T09:45:22.414" v="489" actId="20577"/>
          <ac:spMkLst>
            <pc:docMk/>
            <pc:sldMk cId="3168066364" sldId="256"/>
            <ac:spMk id="43" creationId="{B49ACCE4-21FA-B84E-A7DD-9E270F5D9881}"/>
          </ac:spMkLst>
        </pc:spChg>
        <pc:spChg chg="add mod">
          <ac:chgData name="Christopher Schulz" userId="c7a37fbc-fc18-47fa-bc4e-1f96df76f530" providerId="ADAL" clId="{6FE4D6B8-3BBB-624A-A093-BB44A255D63A}" dt="2020-04-12T10:00:59.394" v="1241" actId="1076"/>
          <ac:spMkLst>
            <pc:docMk/>
            <pc:sldMk cId="3168066364" sldId="256"/>
            <ac:spMk id="46" creationId="{7F17A993-C0DA-A449-8E40-8C926C04A9D2}"/>
          </ac:spMkLst>
        </pc:spChg>
        <pc:spChg chg="mod">
          <ac:chgData name="Christopher Schulz" userId="c7a37fbc-fc18-47fa-bc4e-1f96df76f530" providerId="ADAL" clId="{6FE4D6B8-3BBB-624A-A093-BB44A255D63A}" dt="2020-04-12T09:43:32.494" v="390" actId="1035"/>
          <ac:spMkLst>
            <pc:docMk/>
            <pc:sldMk cId="3168066364" sldId="256"/>
            <ac:spMk id="53" creationId="{0D333FBC-7AA1-A448-A521-AD576F96D878}"/>
          </ac:spMkLst>
        </pc:spChg>
        <pc:spChg chg="del mod">
          <ac:chgData name="Christopher Schulz" userId="c7a37fbc-fc18-47fa-bc4e-1f96df76f530" providerId="ADAL" clId="{6FE4D6B8-3BBB-624A-A093-BB44A255D63A}" dt="2020-04-12T09:44:29.186" v="457" actId="478"/>
          <ac:spMkLst>
            <pc:docMk/>
            <pc:sldMk cId="3168066364" sldId="256"/>
            <ac:spMk id="54" creationId="{E53354FD-A7ED-F741-90BC-3497A87A2154}"/>
          </ac:spMkLst>
        </pc:spChg>
        <pc:spChg chg="mod">
          <ac:chgData name="Christopher Schulz" userId="c7a37fbc-fc18-47fa-bc4e-1f96df76f530" providerId="ADAL" clId="{6FE4D6B8-3BBB-624A-A093-BB44A255D63A}" dt="2020-04-12T09:43:32.494" v="390" actId="1035"/>
          <ac:spMkLst>
            <pc:docMk/>
            <pc:sldMk cId="3168066364" sldId="256"/>
            <ac:spMk id="59" creationId="{5F08C03D-6BF7-124E-BC37-F5B4330636A9}"/>
          </ac:spMkLst>
        </pc:spChg>
        <pc:spChg chg="del mod">
          <ac:chgData name="Christopher Schulz" userId="c7a37fbc-fc18-47fa-bc4e-1f96df76f530" providerId="ADAL" clId="{6FE4D6B8-3BBB-624A-A093-BB44A255D63A}" dt="2020-04-12T10:00:51.618" v="1240"/>
          <ac:spMkLst>
            <pc:docMk/>
            <pc:sldMk cId="3168066364" sldId="256"/>
            <ac:spMk id="60" creationId="{FBEF7467-2272-8C42-A10A-0A45907C2AF1}"/>
          </ac:spMkLst>
        </pc:spChg>
        <pc:spChg chg="mod">
          <ac:chgData name="Christopher Schulz" userId="c7a37fbc-fc18-47fa-bc4e-1f96df76f530" providerId="ADAL" clId="{6FE4D6B8-3BBB-624A-A093-BB44A255D63A}" dt="2020-04-12T09:43:32.494" v="390" actId="1035"/>
          <ac:spMkLst>
            <pc:docMk/>
            <pc:sldMk cId="3168066364" sldId="256"/>
            <ac:spMk id="61" creationId="{71C73527-1EEC-9C4B-9089-00F8C16AD414}"/>
          </ac:spMkLst>
        </pc:spChg>
        <pc:spChg chg="del">
          <ac:chgData name="Christopher Schulz" userId="c7a37fbc-fc18-47fa-bc4e-1f96df76f530" providerId="ADAL" clId="{6FE4D6B8-3BBB-624A-A093-BB44A255D63A}" dt="2020-04-12T09:41:05.310" v="306" actId="478"/>
          <ac:spMkLst>
            <pc:docMk/>
            <pc:sldMk cId="3168066364" sldId="256"/>
            <ac:spMk id="62" creationId="{957A65AE-4A05-7945-BE35-6ACB3C3617CB}"/>
          </ac:spMkLst>
        </pc:spChg>
        <pc:spChg chg="mod">
          <ac:chgData name="Christopher Schulz" userId="c7a37fbc-fc18-47fa-bc4e-1f96df76f530" providerId="ADAL" clId="{6FE4D6B8-3BBB-624A-A093-BB44A255D63A}" dt="2020-04-12T09:43:32.494" v="390" actId="1035"/>
          <ac:spMkLst>
            <pc:docMk/>
            <pc:sldMk cId="3168066364" sldId="256"/>
            <ac:spMk id="64" creationId="{81A20781-8663-2F41-A497-C4D57F4DE5E5}"/>
          </ac:spMkLst>
        </pc:spChg>
        <pc:spChg chg="del">
          <ac:chgData name="Christopher Schulz" userId="c7a37fbc-fc18-47fa-bc4e-1f96df76f530" providerId="ADAL" clId="{6FE4D6B8-3BBB-624A-A093-BB44A255D63A}" dt="2020-04-12T09:41:53.483" v="325" actId="478"/>
          <ac:spMkLst>
            <pc:docMk/>
            <pc:sldMk cId="3168066364" sldId="256"/>
            <ac:spMk id="65" creationId="{BFC1D988-8A91-DE49-B58D-593EE053184F}"/>
          </ac:spMkLst>
        </pc:spChg>
        <pc:spChg chg="mod">
          <ac:chgData name="Christopher Schulz" userId="c7a37fbc-fc18-47fa-bc4e-1f96df76f530" providerId="ADAL" clId="{6FE4D6B8-3BBB-624A-A093-BB44A255D63A}" dt="2020-04-12T09:43:32.494" v="390" actId="1035"/>
          <ac:spMkLst>
            <pc:docMk/>
            <pc:sldMk cId="3168066364" sldId="256"/>
            <ac:spMk id="66" creationId="{C9F832F3-19D4-E046-9A4C-00866193A3E1}"/>
          </ac:spMkLst>
        </pc:spChg>
        <pc:spChg chg="add del">
          <ac:chgData name="Christopher Schulz" userId="c7a37fbc-fc18-47fa-bc4e-1f96df76f530" providerId="ADAL" clId="{6FE4D6B8-3BBB-624A-A093-BB44A255D63A}" dt="2020-04-12T09:43:39.863" v="396" actId="478"/>
          <ac:spMkLst>
            <pc:docMk/>
            <pc:sldMk cId="3168066364" sldId="256"/>
            <ac:spMk id="68" creationId="{B4587D13-8F0D-2640-A4F5-B5F2BB27D966}"/>
          </ac:spMkLst>
        </pc:spChg>
        <pc:spChg chg="mod">
          <ac:chgData name="Christopher Schulz" userId="c7a37fbc-fc18-47fa-bc4e-1f96df76f530" providerId="ADAL" clId="{6FE4D6B8-3BBB-624A-A093-BB44A255D63A}" dt="2020-04-12T09:43:32.494" v="390" actId="1035"/>
          <ac:spMkLst>
            <pc:docMk/>
            <pc:sldMk cId="3168066364" sldId="256"/>
            <ac:spMk id="77" creationId="{689346B4-56EE-484D-98C1-4C85C5FB7AC9}"/>
          </ac:spMkLst>
        </pc:spChg>
        <pc:spChg chg="del">
          <ac:chgData name="Christopher Schulz" userId="c7a37fbc-fc18-47fa-bc4e-1f96df76f530" providerId="ADAL" clId="{6FE4D6B8-3BBB-624A-A093-BB44A255D63A}" dt="2020-04-12T09:41:23.526" v="308" actId="478"/>
          <ac:spMkLst>
            <pc:docMk/>
            <pc:sldMk cId="3168066364" sldId="256"/>
            <ac:spMk id="78" creationId="{E1A175B2-75F9-7741-9683-4400A733C301}"/>
          </ac:spMkLst>
        </pc:spChg>
        <pc:picChg chg="del mod">
          <ac:chgData name="Christopher Schulz" userId="c7a37fbc-fc18-47fa-bc4e-1f96df76f530" providerId="ADAL" clId="{6FE4D6B8-3BBB-624A-A093-BB44A255D63A}" dt="2020-04-12T10:00:51.618" v="1240"/>
          <ac:picMkLst>
            <pc:docMk/>
            <pc:sldMk cId="3168066364" sldId="256"/>
            <ac:picMk id="6" creationId="{DB42ED7E-A908-CB41-B41D-BE1B48EB1B39}"/>
          </ac:picMkLst>
        </pc:picChg>
        <pc:picChg chg="del">
          <ac:chgData name="Christopher Schulz" userId="c7a37fbc-fc18-47fa-bc4e-1f96df76f530" providerId="ADAL" clId="{6FE4D6B8-3BBB-624A-A093-BB44A255D63A}" dt="2020-04-12T09:41:53.483" v="325" actId="478"/>
          <ac:picMkLst>
            <pc:docMk/>
            <pc:sldMk cId="3168066364" sldId="256"/>
            <ac:picMk id="8" creationId="{62B796B7-1932-9D4A-BA6B-823B6ED2E551}"/>
          </ac:picMkLst>
        </pc:picChg>
        <pc:picChg chg="add del">
          <ac:chgData name="Christopher Schulz" userId="c7a37fbc-fc18-47fa-bc4e-1f96df76f530" providerId="ADAL" clId="{6FE4D6B8-3BBB-624A-A093-BB44A255D63A}" dt="2020-04-12T09:43:39.863" v="396" actId="478"/>
          <ac:picMkLst>
            <pc:docMk/>
            <pc:sldMk cId="3168066364" sldId="256"/>
            <ac:picMk id="17" creationId="{AD2E7C2A-19EB-0344-8D3D-365177FAFA98}"/>
          </ac:picMkLst>
        </pc:picChg>
        <pc:picChg chg="del">
          <ac:chgData name="Christopher Schulz" userId="c7a37fbc-fc18-47fa-bc4e-1f96df76f530" providerId="ADAL" clId="{6FE4D6B8-3BBB-624A-A093-BB44A255D63A}" dt="2020-04-12T09:41:05.310" v="306" actId="478"/>
          <ac:picMkLst>
            <pc:docMk/>
            <pc:sldMk cId="3168066364" sldId="256"/>
            <ac:picMk id="21" creationId="{81672601-4504-D344-A431-DFCF7E932F30}"/>
          </ac:picMkLst>
        </pc:picChg>
        <pc:picChg chg="del mod">
          <ac:chgData name="Christopher Schulz" userId="c7a37fbc-fc18-47fa-bc4e-1f96df76f530" providerId="ADAL" clId="{6FE4D6B8-3BBB-624A-A093-BB44A255D63A}" dt="2020-04-12T09:44:29.186" v="457" actId="478"/>
          <ac:picMkLst>
            <pc:docMk/>
            <pc:sldMk cId="3168066364" sldId="256"/>
            <ac:picMk id="23" creationId="{263C916C-4583-FC41-BB14-3AAC0056EC22}"/>
          </ac:picMkLst>
        </pc:picChg>
        <pc:picChg chg="add mod">
          <ac:chgData name="Christopher Schulz" userId="c7a37fbc-fc18-47fa-bc4e-1f96df76f530" providerId="ADAL" clId="{6FE4D6B8-3BBB-624A-A093-BB44A255D63A}" dt="2020-04-12T09:44:45.618" v="475" actId="1076"/>
          <ac:picMkLst>
            <pc:docMk/>
            <pc:sldMk cId="3168066364" sldId="256"/>
            <ac:picMk id="29" creationId="{9CEDAD49-5502-9343-9AD9-A70CC91A95AA}"/>
          </ac:picMkLst>
        </pc:picChg>
        <pc:picChg chg="add mod">
          <ac:chgData name="Christopher Schulz" userId="c7a37fbc-fc18-47fa-bc4e-1f96df76f530" providerId="ADAL" clId="{6FE4D6B8-3BBB-624A-A093-BB44A255D63A}" dt="2020-04-12T09:45:36.423" v="492" actId="1076"/>
          <ac:picMkLst>
            <pc:docMk/>
            <pc:sldMk cId="3168066364" sldId="256"/>
            <ac:picMk id="31" creationId="{B7AAA3DC-0504-CB4C-A200-C0D3FB5B52D9}"/>
          </ac:picMkLst>
        </pc:picChg>
        <pc:picChg chg="add mod">
          <ac:chgData name="Christopher Schulz" userId="c7a37fbc-fc18-47fa-bc4e-1f96df76f530" providerId="ADAL" clId="{6FE4D6B8-3BBB-624A-A093-BB44A255D63A}" dt="2020-04-12T09:44:45.618" v="475" actId="1076"/>
          <ac:picMkLst>
            <pc:docMk/>
            <pc:sldMk cId="3168066364" sldId="256"/>
            <ac:picMk id="33" creationId="{78E99FA0-59A8-F840-95BD-C95183FFB10F}"/>
          </ac:picMkLst>
        </pc:picChg>
        <pc:picChg chg="add del mod">
          <ac:chgData name="Christopher Schulz" userId="c7a37fbc-fc18-47fa-bc4e-1f96df76f530" providerId="ADAL" clId="{6FE4D6B8-3BBB-624A-A093-BB44A255D63A}" dt="2020-04-12T09:43:32.734" v="391"/>
          <ac:picMkLst>
            <pc:docMk/>
            <pc:sldMk cId="3168066364" sldId="256"/>
            <ac:picMk id="36" creationId="{3C1DD015-2339-E143-94E8-B2897484927F}"/>
          </ac:picMkLst>
        </pc:picChg>
        <pc:picChg chg="add del mod">
          <ac:chgData name="Christopher Schulz" userId="c7a37fbc-fc18-47fa-bc4e-1f96df76f530" providerId="ADAL" clId="{6FE4D6B8-3BBB-624A-A093-BB44A255D63A}" dt="2020-04-12T09:43:32.734" v="391"/>
          <ac:picMkLst>
            <pc:docMk/>
            <pc:sldMk cId="3168066364" sldId="256"/>
            <ac:picMk id="37" creationId="{93793378-2938-2946-AC4A-10B9F3FBAD04}"/>
          </ac:picMkLst>
        </pc:picChg>
        <pc:picChg chg="add del mod">
          <ac:chgData name="Christopher Schulz" userId="c7a37fbc-fc18-47fa-bc4e-1f96df76f530" providerId="ADAL" clId="{6FE4D6B8-3BBB-624A-A093-BB44A255D63A}" dt="2020-04-12T09:43:31.936" v="387"/>
          <ac:picMkLst>
            <pc:docMk/>
            <pc:sldMk cId="3168066364" sldId="256"/>
            <ac:picMk id="39" creationId="{9E9006F7-92E6-3440-8C19-C84293AB62FD}"/>
          </ac:picMkLst>
        </pc:picChg>
        <pc:picChg chg="add del">
          <ac:chgData name="Christopher Schulz" userId="c7a37fbc-fc18-47fa-bc4e-1f96df76f530" providerId="ADAL" clId="{6FE4D6B8-3BBB-624A-A093-BB44A255D63A}" dt="2020-04-12T09:44:02.470" v="400"/>
          <ac:picMkLst>
            <pc:docMk/>
            <pc:sldMk cId="3168066364" sldId="256"/>
            <ac:picMk id="41" creationId="{BF41E70C-15AE-9D47-A03E-05C9BD5607C7}"/>
          </ac:picMkLst>
        </pc:picChg>
        <pc:picChg chg="add">
          <ac:chgData name="Christopher Schulz" userId="c7a37fbc-fc18-47fa-bc4e-1f96df76f530" providerId="ADAL" clId="{6FE4D6B8-3BBB-624A-A093-BB44A255D63A}" dt="2020-04-12T09:44:09.339" v="401"/>
          <ac:picMkLst>
            <pc:docMk/>
            <pc:sldMk cId="3168066364" sldId="256"/>
            <ac:picMk id="44" creationId="{BD0C9887-E892-BB4C-BDAB-6469F8E26AF6}"/>
          </ac:picMkLst>
        </pc:picChg>
        <pc:picChg chg="add">
          <ac:chgData name="Christopher Schulz" userId="c7a37fbc-fc18-47fa-bc4e-1f96df76f530" providerId="ADAL" clId="{6FE4D6B8-3BBB-624A-A093-BB44A255D63A}" dt="2020-04-12T09:44:09.339" v="401"/>
          <ac:picMkLst>
            <pc:docMk/>
            <pc:sldMk cId="3168066364" sldId="256"/>
            <ac:picMk id="45" creationId="{06AE46DF-AA4D-C54F-B9A2-5266C874670C}"/>
          </ac:picMkLst>
        </pc:picChg>
        <pc:picChg chg="add mod">
          <ac:chgData name="Christopher Schulz" userId="c7a37fbc-fc18-47fa-bc4e-1f96df76f530" providerId="ADAL" clId="{6FE4D6B8-3BBB-624A-A093-BB44A255D63A}" dt="2020-04-12T10:00:59.394" v="1241" actId="1076"/>
          <ac:picMkLst>
            <pc:docMk/>
            <pc:sldMk cId="3168066364" sldId="256"/>
            <ac:picMk id="47" creationId="{7DFA7178-584D-5349-9CBC-43D69C0DB09A}"/>
          </ac:picMkLst>
        </pc:picChg>
        <pc:picChg chg="mod">
          <ac:chgData name="Christopher Schulz" userId="c7a37fbc-fc18-47fa-bc4e-1f96df76f530" providerId="ADAL" clId="{6FE4D6B8-3BBB-624A-A093-BB44A255D63A}" dt="2020-04-12T09:43:32.494" v="390" actId="1035"/>
          <ac:picMkLst>
            <pc:docMk/>
            <pc:sldMk cId="3168066364" sldId="256"/>
            <ac:picMk id="70" creationId="{1A05F362-4D05-8F4E-992C-75B98B6A5DA5}"/>
          </ac:picMkLst>
        </pc:picChg>
        <pc:picChg chg="mod">
          <ac:chgData name="Christopher Schulz" userId="c7a37fbc-fc18-47fa-bc4e-1f96df76f530" providerId="ADAL" clId="{6FE4D6B8-3BBB-624A-A093-BB44A255D63A}" dt="2020-04-12T09:43:32.494" v="390" actId="1035"/>
          <ac:picMkLst>
            <pc:docMk/>
            <pc:sldMk cId="3168066364" sldId="256"/>
            <ac:picMk id="71" creationId="{983402E8-A46E-8B47-A133-C823413EC54F}"/>
          </ac:picMkLst>
        </pc:picChg>
        <pc:picChg chg="mod">
          <ac:chgData name="Christopher Schulz" userId="c7a37fbc-fc18-47fa-bc4e-1f96df76f530" providerId="ADAL" clId="{6FE4D6B8-3BBB-624A-A093-BB44A255D63A}" dt="2020-04-12T09:43:32.494" v="390" actId="1035"/>
          <ac:picMkLst>
            <pc:docMk/>
            <pc:sldMk cId="3168066364" sldId="256"/>
            <ac:picMk id="72" creationId="{02C0DB24-6FD0-B746-8A62-E01986EADAB6}"/>
          </ac:picMkLst>
        </pc:picChg>
        <pc:picChg chg="mod">
          <ac:chgData name="Christopher Schulz" userId="c7a37fbc-fc18-47fa-bc4e-1f96df76f530" providerId="ADAL" clId="{6FE4D6B8-3BBB-624A-A093-BB44A255D63A}" dt="2020-04-12T09:43:32.494" v="390" actId="1035"/>
          <ac:picMkLst>
            <pc:docMk/>
            <pc:sldMk cId="3168066364" sldId="256"/>
            <ac:picMk id="74" creationId="{3121D770-0C42-1544-8A1F-A6227274C75B}"/>
          </ac:picMkLst>
        </pc:picChg>
        <pc:picChg chg="mod">
          <ac:chgData name="Christopher Schulz" userId="c7a37fbc-fc18-47fa-bc4e-1f96df76f530" providerId="ADAL" clId="{6FE4D6B8-3BBB-624A-A093-BB44A255D63A}" dt="2020-04-12T09:43:32.494" v="390" actId="1035"/>
          <ac:picMkLst>
            <pc:docMk/>
            <pc:sldMk cId="3168066364" sldId="256"/>
            <ac:picMk id="76" creationId="{15E66E4D-FAB3-5742-8D12-8CEB6CD159F8}"/>
          </ac:picMkLst>
        </pc:picChg>
        <pc:picChg chg="mod">
          <ac:chgData name="Christopher Schulz" userId="c7a37fbc-fc18-47fa-bc4e-1f96df76f530" providerId="ADAL" clId="{6FE4D6B8-3BBB-624A-A093-BB44A255D63A}" dt="2020-04-12T09:43:32.494" v="390" actId="1035"/>
          <ac:picMkLst>
            <pc:docMk/>
            <pc:sldMk cId="3168066364" sldId="256"/>
            <ac:picMk id="79" creationId="{C5E1EDAC-30BB-1243-A314-4B48F0A3E523}"/>
          </ac:picMkLst>
        </pc:picChg>
        <pc:picChg chg="del">
          <ac:chgData name="Christopher Schulz" userId="c7a37fbc-fc18-47fa-bc4e-1f96df76f530" providerId="ADAL" clId="{6FE4D6B8-3BBB-624A-A093-BB44A255D63A}" dt="2020-04-12T09:41:23.526" v="308" actId="478"/>
          <ac:picMkLst>
            <pc:docMk/>
            <pc:sldMk cId="3168066364" sldId="256"/>
            <ac:picMk id="80" creationId="{B9C0E521-060B-7147-ACA8-A5C61AC1DF06}"/>
          </ac:picMkLst>
        </pc:picChg>
      </pc:sldChg>
      <pc:sldChg chg="modSp">
        <pc:chgData name="Christopher Schulz" userId="c7a37fbc-fc18-47fa-bc4e-1f96df76f530" providerId="ADAL" clId="{6FE4D6B8-3BBB-624A-A093-BB44A255D63A}" dt="2020-04-12T09:35:05.250" v="209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6FE4D6B8-3BBB-624A-A093-BB44A255D63A}" dt="2020-04-12T09:35:05.250" v="209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addSp delSp modSp">
        <pc:chgData name="Christopher Schulz" userId="c7a37fbc-fc18-47fa-bc4e-1f96df76f530" providerId="ADAL" clId="{6FE4D6B8-3BBB-624A-A093-BB44A255D63A}" dt="2020-04-12T09:32:35.908" v="84" actId="20577"/>
        <pc:sldMkLst>
          <pc:docMk/>
          <pc:sldMk cId="3209056058" sldId="440"/>
        </pc:sldMkLst>
        <pc:spChg chg="mod">
          <ac:chgData name="Christopher Schulz" userId="c7a37fbc-fc18-47fa-bc4e-1f96df76f530" providerId="ADAL" clId="{6FE4D6B8-3BBB-624A-A093-BB44A255D63A}" dt="2020-04-12T09:31:56.717" v="10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6FE4D6B8-3BBB-624A-A093-BB44A255D63A}" dt="2020-04-12T09:32:35.908" v="84" actId="20577"/>
          <ac:spMkLst>
            <pc:docMk/>
            <pc:sldMk cId="3209056058" sldId="440"/>
            <ac:spMk id="16" creationId="{B6283CED-F12B-D640-B69C-31DCB8F74681}"/>
          </ac:spMkLst>
        </pc:spChg>
        <pc:picChg chg="add mod modCrop">
          <ac:chgData name="Christopher Schulz" userId="c7a37fbc-fc18-47fa-bc4e-1f96df76f530" providerId="ADAL" clId="{6FE4D6B8-3BBB-624A-A093-BB44A255D63A}" dt="2020-04-12T09:31:50.594" v="9" actId="167"/>
          <ac:picMkLst>
            <pc:docMk/>
            <pc:sldMk cId="3209056058" sldId="440"/>
            <ac:picMk id="2" creationId="{222DAF1B-8164-DD4C-9A63-2D0EED30C40F}"/>
          </ac:picMkLst>
        </pc:picChg>
        <pc:picChg chg="del">
          <ac:chgData name="Christopher Schulz" userId="c7a37fbc-fc18-47fa-bc4e-1f96df76f530" providerId="ADAL" clId="{6FE4D6B8-3BBB-624A-A093-BB44A255D63A}" dt="2020-04-12T09:30:32.165" v="1" actId="478"/>
          <ac:picMkLst>
            <pc:docMk/>
            <pc:sldMk cId="3209056058" sldId="440"/>
            <ac:picMk id="3" creationId="{7D8E9132-E61A-DF48-B4E5-5571528ED1DC}"/>
          </ac:picMkLst>
        </pc:picChg>
      </pc:sldChg>
      <pc:sldChg chg="addSp delSp modSp">
        <pc:chgData name="Christopher Schulz" userId="c7a37fbc-fc18-47fa-bc4e-1f96df76f530" providerId="ADAL" clId="{6FE4D6B8-3BBB-624A-A093-BB44A255D63A}" dt="2020-04-12T10:08:26.209" v="1586" actId="20577"/>
        <pc:sldMkLst>
          <pc:docMk/>
          <pc:sldMk cId="262661586" sldId="441"/>
        </pc:sldMkLst>
        <pc:spChg chg="mod">
          <ac:chgData name="Christopher Schulz" userId="c7a37fbc-fc18-47fa-bc4e-1f96df76f530" providerId="ADAL" clId="{6FE4D6B8-3BBB-624A-A093-BB44A255D63A}" dt="2020-04-12T09:45:46.787" v="493"/>
          <ac:spMkLst>
            <pc:docMk/>
            <pc:sldMk cId="262661586" sldId="441"/>
            <ac:spMk id="3" creationId="{5F0B0340-28DE-4C04-BA5A-1EB9C2F0782D}"/>
          </ac:spMkLst>
        </pc:spChg>
        <pc:spChg chg="add mod">
          <ac:chgData name="Christopher Schulz" userId="c7a37fbc-fc18-47fa-bc4e-1f96df76f530" providerId="ADAL" clId="{6FE4D6B8-3BBB-624A-A093-BB44A255D63A}" dt="2020-04-12T10:02:27.569" v="1304" actId="20577"/>
          <ac:spMkLst>
            <pc:docMk/>
            <pc:sldMk cId="262661586" sldId="441"/>
            <ac:spMk id="37" creationId="{E2D8279B-9301-7743-BE08-D3D3A18FF1B0}"/>
          </ac:spMkLst>
        </pc:spChg>
        <pc:spChg chg="add mod">
          <ac:chgData name="Christopher Schulz" userId="c7a37fbc-fc18-47fa-bc4e-1f96df76f530" providerId="ADAL" clId="{6FE4D6B8-3BBB-624A-A093-BB44A255D63A}" dt="2020-04-12T10:08:26.209" v="1586" actId="20577"/>
          <ac:spMkLst>
            <pc:docMk/>
            <pc:sldMk cId="262661586" sldId="441"/>
            <ac:spMk id="39" creationId="{A5D49209-9DCF-3B47-92CC-E6731C6E7786}"/>
          </ac:spMkLst>
        </pc:spChg>
        <pc:spChg chg="mod">
          <ac:chgData name="Christopher Schulz" userId="c7a37fbc-fc18-47fa-bc4e-1f96df76f530" providerId="ADAL" clId="{6FE4D6B8-3BBB-624A-A093-BB44A255D63A}" dt="2020-04-12T09:46:00.784" v="497" actId="20577"/>
          <ac:spMkLst>
            <pc:docMk/>
            <pc:sldMk cId="262661586" sldId="441"/>
            <ac:spMk id="53" creationId="{0D333FBC-7AA1-A448-A521-AD576F96D878}"/>
          </ac:spMkLst>
        </pc:spChg>
        <pc:spChg chg="mod">
          <ac:chgData name="Christopher Schulz" userId="c7a37fbc-fc18-47fa-bc4e-1f96df76f530" providerId="ADAL" clId="{6FE4D6B8-3BBB-624A-A093-BB44A255D63A}" dt="2020-04-12T09:57:52.741" v="1093" actId="115"/>
          <ac:spMkLst>
            <pc:docMk/>
            <pc:sldMk cId="262661586" sldId="441"/>
            <ac:spMk id="54" creationId="{E53354FD-A7ED-F741-90BC-3497A87A2154}"/>
          </ac:spMkLst>
        </pc:spChg>
        <pc:spChg chg="add del mod">
          <ac:chgData name="Christopher Schulz" userId="c7a37fbc-fc18-47fa-bc4e-1f96df76f530" providerId="ADAL" clId="{6FE4D6B8-3BBB-624A-A093-BB44A255D63A}" dt="2020-04-12T09:54:11.617" v="974" actId="20577"/>
          <ac:spMkLst>
            <pc:docMk/>
            <pc:sldMk cId="262661586" sldId="441"/>
            <ac:spMk id="59" creationId="{5F08C03D-6BF7-124E-BC37-F5B4330636A9}"/>
          </ac:spMkLst>
        </pc:spChg>
        <pc:spChg chg="mod">
          <ac:chgData name="Christopher Schulz" userId="c7a37fbc-fc18-47fa-bc4e-1f96df76f530" providerId="ADAL" clId="{6FE4D6B8-3BBB-624A-A093-BB44A255D63A}" dt="2020-04-12T09:47:22.034" v="667" actId="20577"/>
          <ac:spMkLst>
            <pc:docMk/>
            <pc:sldMk cId="262661586" sldId="441"/>
            <ac:spMk id="60" creationId="{FBEF7467-2272-8C42-A10A-0A45907C2AF1}"/>
          </ac:spMkLst>
        </pc:spChg>
        <pc:spChg chg="mod">
          <ac:chgData name="Christopher Schulz" userId="c7a37fbc-fc18-47fa-bc4e-1f96df76f530" providerId="ADAL" clId="{6FE4D6B8-3BBB-624A-A093-BB44A255D63A}" dt="2020-04-12T09:54:15.031" v="976" actId="20577"/>
          <ac:spMkLst>
            <pc:docMk/>
            <pc:sldMk cId="262661586" sldId="441"/>
            <ac:spMk id="61" creationId="{71C73527-1EEC-9C4B-9089-00F8C16AD414}"/>
          </ac:spMkLst>
        </pc:spChg>
        <pc:spChg chg="del mod">
          <ac:chgData name="Christopher Schulz" userId="c7a37fbc-fc18-47fa-bc4e-1f96df76f530" providerId="ADAL" clId="{6FE4D6B8-3BBB-624A-A093-BB44A255D63A}" dt="2020-04-12T10:01:03.158" v="1242" actId="478"/>
          <ac:spMkLst>
            <pc:docMk/>
            <pc:sldMk cId="262661586" sldId="441"/>
            <ac:spMk id="62" creationId="{957A65AE-4A05-7945-BE35-6ACB3C3617CB}"/>
          </ac:spMkLst>
        </pc:spChg>
        <pc:spChg chg="mod">
          <ac:chgData name="Christopher Schulz" userId="c7a37fbc-fc18-47fa-bc4e-1f96df76f530" providerId="ADAL" clId="{6FE4D6B8-3BBB-624A-A093-BB44A255D63A}" dt="2020-04-12T09:54:19.841" v="979" actId="20577"/>
          <ac:spMkLst>
            <pc:docMk/>
            <pc:sldMk cId="262661586" sldId="441"/>
            <ac:spMk id="64" creationId="{81A20781-8663-2F41-A497-C4D57F4DE5E5}"/>
          </ac:spMkLst>
        </pc:spChg>
        <pc:spChg chg="del mod">
          <ac:chgData name="Christopher Schulz" userId="c7a37fbc-fc18-47fa-bc4e-1f96df76f530" providerId="ADAL" clId="{6FE4D6B8-3BBB-624A-A093-BB44A255D63A}" dt="2020-04-12T09:53:59.729" v="969" actId="478"/>
          <ac:spMkLst>
            <pc:docMk/>
            <pc:sldMk cId="262661586" sldId="441"/>
            <ac:spMk id="65" creationId="{BFC1D988-8A91-DE49-B58D-593EE053184F}"/>
          </ac:spMkLst>
        </pc:spChg>
        <pc:spChg chg="mod">
          <ac:chgData name="Christopher Schulz" userId="c7a37fbc-fc18-47fa-bc4e-1f96df76f530" providerId="ADAL" clId="{6FE4D6B8-3BBB-624A-A093-BB44A255D63A}" dt="2020-04-12T09:58:31.504" v="1096" actId="20577"/>
          <ac:spMkLst>
            <pc:docMk/>
            <pc:sldMk cId="262661586" sldId="441"/>
            <ac:spMk id="66" creationId="{C9F832F3-19D4-E046-9A4C-00866193A3E1}"/>
          </ac:spMkLst>
        </pc:spChg>
        <pc:spChg chg="mod">
          <ac:chgData name="Christopher Schulz" userId="c7a37fbc-fc18-47fa-bc4e-1f96df76f530" providerId="ADAL" clId="{6FE4D6B8-3BBB-624A-A093-BB44A255D63A}" dt="2020-04-12T10:02:35.301" v="1320" actId="20577"/>
          <ac:spMkLst>
            <pc:docMk/>
            <pc:sldMk cId="262661586" sldId="441"/>
            <ac:spMk id="68" creationId="{B4587D13-8F0D-2640-A4F5-B5F2BB27D966}"/>
          </ac:spMkLst>
        </pc:spChg>
        <pc:spChg chg="mod">
          <ac:chgData name="Christopher Schulz" userId="c7a37fbc-fc18-47fa-bc4e-1f96df76f530" providerId="ADAL" clId="{6FE4D6B8-3BBB-624A-A093-BB44A255D63A}" dt="2020-04-12T10:04:00.541" v="1359" actId="20577"/>
          <ac:spMkLst>
            <pc:docMk/>
            <pc:sldMk cId="262661586" sldId="441"/>
            <ac:spMk id="77" creationId="{689346B4-56EE-484D-98C1-4C85C5FB7AC9}"/>
          </ac:spMkLst>
        </pc:spChg>
        <pc:spChg chg="mod">
          <ac:chgData name="Christopher Schulz" userId="c7a37fbc-fc18-47fa-bc4e-1f96df76f530" providerId="ADAL" clId="{6FE4D6B8-3BBB-624A-A093-BB44A255D63A}" dt="2020-04-12T10:05:01.188" v="1449" actId="115"/>
          <ac:spMkLst>
            <pc:docMk/>
            <pc:sldMk cId="262661586" sldId="441"/>
            <ac:spMk id="78" creationId="{E1A175B2-75F9-7741-9683-4400A733C301}"/>
          </ac:spMkLst>
        </pc:spChg>
        <pc:picChg chg="del">
          <ac:chgData name="Christopher Schulz" userId="c7a37fbc-fc18-47fa-bc4e-1f96df76f530" providerId="ADAL" clId="{6FE4D6B8-3BBB-624A-A093-BB44A255D63A}" dt="2020-04-12T09:46:33.750" v="593" actId="478"/>
          <ac:picMkLst>
            <pc:docMk/>
            <pc:sldMk cId="262661586" sldId="441"/>
            <ac:picMk id="5" creationId="{FD97028A-D64A-EE49-B5D2-364637A78E41}"/>
          </ac:picMkLst>
        </pc:picChg>
        <pc:picChg chg="add del mod">
          <ac:chgData name="Christopher Schulz" userId="c7a37fbc-fc18-47fa-bc4e-1f96df76f530" providerId="ADAL" clId="{6FE4D6B8-3BBB-624A-A093-BB44A255D63A}" dt="2020-04-12T09:56:12.127" v="988" actId="1076"/>
          <ac:picMkLst>
            <pc:docMk/>
            <pc:sldMk cId="262661586" sldId="441"/>
            <ac:picMk id="6" creationId="{48C54CB0-2406-864D-ACAF-5078FBC4DE4F}"/>
          </ac:picMkLst>
        </pc:picChg>
        <pc:picChg chg="add del mod">
          <ac:chgData name="Christopher Schulz" userId="c7a37fbc-fc18-47fa-bc4e-1f96df76f530" providerId="ADAL" clId="{6FE4D6B8-3BBB-624A-A093-BB44A255D63A}" dt="2020-04-12T10:01:03.158" v="1242" actId="478"/>
          <ac:picMkLst>
            <pc:docMk/>
            <pc:sldMk cId="262661586" sldId="441"/>
            <ac:picMk id="8" creationId="{BAF3460C-D781-DB43-9B38-8148122F9006}"/>
          </ac:picMkLst>
        </pc:picChg>
        <pc:picChg chg="del">
          <ac:chgData name="Christopher Schulz" userId="c7a37fbc-fc18-47fa-bc4e-1f96df76f530" providerId="ADAL" clId="{6FE4D6B8-3BBB-624A-A093-BB44A255D63A}" dt="2020-04-12T09:47:33.065" v="668" actId="478"/>
          <ac:picMkLst>
            <pc:docMk/>
            <pc:sldMk cId="262661586" sldId="441"/>
            <ac:picMk id="9" creationId="{FEB1646B-B68B-B94B-8822-8CADBDCFCBCF}"/>
          </ac:picMkLst>
        </pc:picChg>
        <pc:picChg chg="add del mod">
          <ac:chgData name="Christopher Schulz" userId="c7a37fbc-fc18-47fa-bc4e-1f96df76f530" providerId="ADAL" clId="{6FE4D6B8-3BBB-624A-A093-BB44A255D63A}" dt="2020-04-12T10:07:52.693" v="1570" actId="478"/>
          <ac:picMkLst>
            <pc:docMk/>
            <pc:sldMk cId="262661586" sldId="441"/>
            <ac:picMk id="11" creationId="{6D8972E4-2191-874F-BE87-19930C3EBD67}"/>
          </ac:picMkLst>
        </pc:picChg>
        <pc:picChg chg="add mod">
          <ac:chgData name="Christopher Schulz" userId="c7a37fbc-fc18-47fa-bc4e-1f96df76f530" providerId="ADAL" clId="{6FE4D6B8-3BBB-624A-A093-BB44A255D63A}" dt="2020-04-12T10:00:04.665" v="1224" actId="1076"/>
          <ac:picMkLst>
            <pc:docMk/>
            <pc:sldMk cId="262661586" sldId="441"/>
            <ac:picMk id="13" creationId="{816934EC-9CE3-C64E-8339-BD755457E972}"/>
          </ac:picMkLst>
        </pc:picChg>
        <pc:picChg chg="add del mod">
          <ac:chgData name="Christopher Schulz" userId="c7a37fbc-fc18-47fa-bc4e-1f96df76f530" providerId="ADAL" clId="{6FE4D6B8-3BBB-624A-A093-BB44A255D63A}" dt="2020-04-12T10:07:49.595" v="1568" actId="1076"/>
          <ac:picMkLst>
            <pc:docMk/>
            <pc:sldMk cId="262661586" sldId="441"/>
            <ac:picMk id="15" creationId="{6B899187-6334-0948-B2DD-37154501F267}"/>
          </ac:picMkLst>
        </pc:picChg>
        <pc:picChg chg="del">
          <ac:chgData name="Christopher Schulz" userId="c7a37fbc-fc18-47fa-bc4e-1f96df76f530" providerId="ADAL" clId="{6FE4D6B8-3BBB-624A-A093-BB44A255D63A}" dt="2020-04-12T09:52:52.565" v="903" actId="478"/>
          <ac:picMkLst>
            <pc:docMk/>
            <pc:sldMk cId="262661586" sldId="441"/>
            <ac:picMk id="16" creationId="{87AD33BD-F0F8-7F4A-8896-FC10AEB1F78C}"/>
          </ac:picMkLst>
        </pc:picChg>
        <pc:picChg chg="add del mod">
          <ac:chgData name="Christopher Schulz" userId="c7a37fbc-fc18-47fa-bc4e-1f96df76f530" providerId="ADAL" clId="{6FE4D6B8-3BBB-624A-A093-BB44A255D63A}" dt="2020-04-12T10:08:15.909" v="1573" actId="478"/>
          <ac:picMkLst>
            <pc:docMk/>
            <pc:sldMk cId="262661586" sldId="441"/>
            <ac:picMk id="18" creationId="{F3994B7E-F759-314E-890D-A62B5C98B454}"/>
          </ac:picMkLst>
        </pc:picChg>
        <pc:picChg chg="add del mod">
          <ac:chgData name="Christopher Schulz" userId="c7a37fbc-fc18-47fa-bc4e-1f96df76f530" providerId="ADAL" clId="{6FE4D6B8-3BBB-624A-A093-BB44A255D63A}" dt="2020-04-12T10:08:05.946" v="1572" actId="1076"/>
          <ac:picMkLst>
            <pc:docMk/>
            <pc:sldMk cId="262661586" sldId="441"/>
            <ac:picMk id="20" creationId="{4CF69001-37FA-CC44-ACF5-2E27017AEFC5}"/>
          </ac:picMkLst>
        </pc:picChg>
        <pc:picChg chg="del mod">
          <ac:chgData name="Christopher Schulz" userId="c7a37fbc-fc18-47fa-bc4e-1f96df76f530" providerId="ADAL" clId="{6FE4D6B8-3BBB-624A-A093-BB44A255D63A}" dt="2020-04-12T09:59:29.913" v="1220" actId="478"/>
          <ac:picMkLst>
            <pc:docMk/>
            <pc:sldMk cId="262661586" sldId="441"/>
            <ac:picMk id="22" creationId="{5625DB93-109D-0D41-B156-EC7BAC3FF2D4}"/>
          </ac:picMkLst>
        </pc:picChg>
        <pc:picChg chg="del">
          <ac:chgData name="Christopher Schulz" userId="c7a37fbc-fc18-47fa-bc4e-1f96df76f530" providerId="ADAL" clId="{6FE4D6B8-3BBB-624A-A093-BB44A255D63A}" dt="2020-04-12T09:52:56.496" v="904" actId="478"/>
          <ac:picMkLst>
            <pc:docMk/>
            <pc:sldMk cId="262661586" sldId="441"/>
            <ac:picMk id="27" creationId="{7C5C1CCB-2292-5645-A45A-FF66AC65074F}"/>
          </ac:picMkLst>
        </pc:picChg>
        <pc:picChg chg="add mod">
          <ac:chgData name="Christopher Schulz" userId="c7a37fbc-fc18-47fa-bc4e-1f96df76f530" providerId="ADAL" clId="{6FE4D6B8-3BBB-624A-A093-BB44A255D63A}" dt="2020-04-12T09:46:45.635" v="595" actId="1076"/>
          <ac:picMkLst>
            <pc:docMk/>
            <pc:sldMk cId="262661586" sldId="441"/>
            <ac:picMk id="28" creationId="{BA64281B-37C3-BE4C-88DB-E151EA1D1763}"/>
          </ac:picMkLst>
        </pc:picChg>
        <pc:picChg chg="del">
          <ac:chgData name="Christopher Schulz" userId="c7a37fbc-fc18-47fa-bc4e-1f96df76f530" providerId="ADAL" clId="{6FE4D6B8-3BBB-624A-A093-BB44A255D63A}" dt="2020-04-12T09:47:34.579" v="669" actId="478"/>
          <ac:picMkLst>
            <pc:docMk/>
            <pc:sldMk cId="262661586" sldId="441"/>
            <ac:picMk id="29" creationId="{939923BC-3CB7-8B42-93ED-88681774AF1B}"/>
          </ac:picMkLst>
        </pc:picChg>
        <pc:picChg chg="add">
          <ac:chgData name="Christopher Schulz" userId="c7a37fbc-fc18-47fa-bc4e-1f96df76f530" providerId="ADAL" clId="{6FE4D6B8-3BBB-624A-A093-BB44A255D63A}" dt="2020-04-12T10:01:03.669" v="1243"/>
          <ac:picMkLst>
            <pc:docMk/>
            <pc:sldMk cId="262661586" sldId="441"/>
            <ac:picMk id="38" creationId="{40B1BBAA-A9AD-234A-88FD-42EEBB1715CF}"/>
          </ac:picMkLst>
        </pc:picChg>
      </pc:sldChg>
    </pc:docChg>
  </pc:docChgLst>
  <pc:docChgLst>
    <pc:chgData name="Christopher Schulz" userId="c7a37fbc-fc18-47fa-bc4e-1f96df76f530" providerId="ADAL" clId="{F93D3433-9EEF-8B4A-8FFE-8C52E7F23597}"/>
    <pc:docChg chg="undo custSel modSld">
      <pc:chgData name="Christopher Schulz" userId="c7a37fbc-fc18-47fa-bc4e-1f96df76f530" providerId="ADAL" clId="{F93D3433-9EEF-8B4A-8FFE-8C52E7F23597}" dt="2020-06-16T07:07:41.798" v="2878" actId="20577"/>
      <pc:docMkLst>
        <pc:docMk/>
      </pc:docMkLst>
      <pc:sldChg chg="addSp delSp modSp">
        <pc:chgData name="Christopher Schulz" userId="c7a37fbc-fc18-47fa-bc4e-1f96df76f530" providerId="ADAL" clId="{F93D3433-9EEF-8B4A-8FFE-8C52E7F23597}" dt="2020-06-16T04:54:38.506" v="1133" actId="2"/>
        <pc:sldMkLst>
          <pc:docMk/>
          <pc:sldMk cId="3168066364" sldId="256"/>
        </pc:sldMkLst>
        <pc:spChg chg="mod">
          <ac:chgData name="Christopher Schulz" userId="c7a37fbc-fc18-47fa-bc4e-1f96df76f530" providerId="ADAL" clId="{F93D3433-9EEF-8B4A-8FFE-8C52E7F23597}" dt="2020-06-16T04:44:30.018" v="530" actId="20577"/>
          <ac:spMkLst>
            <pc:docMk/>
            <pc:sldMk cId="3168066364" sldId="256"/>
            <ac:spMk id="2" creationId="{D68C5A50-1913-4507-988E-B3319E45906C}"/>
          </ac:spMkLst>
        </pc:spChg>
        <pc:spChg chg="mod">
          <ac:chgData name="Christopher Schulz" userId="c7a37fbc-fc18-47fa-bc4e-1f96df76f530" providerId="ADAL" clId="{F93D3433-9EEF-8B4A-8FFE-8C52E7F23597}" dt="2020-06-16T04:42:52.671" v="475" actId="20577"/>
          <ac:spMkLst>
            <pc:docMk/>
            <pc:sldMk cId="3168066364" sldId="256"/>
            <ac:spMk id="3" creationId="{5F0B0340-28DE-4C04-BA5A-1EB9C2F0782D}"/>
          </ac:spMkLst>
        </pc:spChg>
        <pc:spChg chg="add mod">
          <ac:chgData name="Christopher Schulz" userId="c7a37fbc-fc18-47fa-bc4e-1f96df76f530" providerId="ADAL" clId="{F93D3433-9EEF-8B4A-8FFE-8C52E7F23597}" dt="2020-06-16T04:54:38.506" v="1133" actId="2"/>
          <ac:spMkLst>
            <pc:docMk/>
            <pc:sldMk cId="3168066364" sldId="256"/>
            <ac:spMk id="4" creationId="{DDC15352-31AB-464F-916C-0054F195DB7E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28" creationId="{C21EDED0-9069-634C-A0E9-32024B691909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30" creationId="{C506899F-59A4-EF49-B449-F94334D6802E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32" creationId="{32AAFF07-E7EB-C045-A9A0-AB4531AD1033}"/>
          </ac:spMkLst>
        </pc:spChg>
        <pc:spChg chg="add mod">
          <ac:chgData name="Christopher Schulz" userId="c7a37fbc-fc18-47fa-bc4e-1f96df76f530" providerId="ADAL" clId="{F93D3433-9EEF-8B4A-8FFE-8C52E7F23597}" dt="2020-06-16T04:47:10.833" v="792" actId="114"/>
          <ac:spMkLst>
            <pc:docMk/>
            <pc:sldMk cId="3168066364" sldId="256"/>
            <ac:spMk id="34" creationId="{D57E97CE-9882-0E42-B677-2A932A8442BE}"/>
          </ac:spMkLst>
        </pc:spChg>
        <pc:spChg chg="add mod">
          <ac:chgData name="Christopher Schulz" userId="c7a37fbc-fc18-47fa-bc4e-1f96df76f530" providerId="ADAL" clId="{F93D3433-9EEF-8B4A-8FFE-8C52E7F23597}" dt="2020-06-16T04:46:59.169" v="775" actId="20577"/>
          <ac:spMkLst>
            <pc:docMk/>
            <pc:sldMk cId="3168066364" sldId="256"/>
            <ac:spMk id="35" creationId="{E5F288DA-886A-834A-A94D-34B273EB7C4A}"/>
          </ac:spMkLst>
        </pc:spChg>
        <pc:spChg chg="add mod">
          <ac:chgData name="Christopher Schulz" userId="c7a37fbc-fc18-47fa-bc4e-1f96df76f530" providerId="ADAL" clId="{F93D3433-9EEF-8B4A-8FFE-8C52E7F23597}" dt="2020-06-16T04:47:05.056" v="787" actId="20577"/>
          <ac:spMkLst>
            <pc:docMk/>
            <pc:sldMk cId="3168066364" sldId="256"/>
            <ac:spMk id="36" creationId="{DE78AAC0-FF1B-F443-B01A-6770FA5FE78E}"/>
          </ac:spMkLst>
        </pc:spChg>
        <pc:spChg chg="add mod">
          <ac:chgData name="Christopher Schulz" userId="c7a37fbc-fc18-47fa-bc4e-1f96df76f530" providerId="ADAL" clId="{F93D3433-9EEF-8B4A-8FFE-8C52E7F23597}" dt="2020-06-16T04:48:21.881" v="969" actId="20577"/>
          <ac:spMkLst>
            <pc:docMk/>
            <pc:sldMk cId="3168066364" sldId="256"/>
            <ac:spMk id="37" creationId="{402E0D0A-FE6D-7C41-B613-24BD4726EB8E}"/>
          </ac:spMkLst>
        </pc:spChg>
        <pc:spChg chg="add mod">
          <ac:chgData name="Christopher Schulz" userId="c7a37fbc-fc18-47fa-bc4e-1f96df76f530" providerId="ADAL" clId="{F93D3433-9EEF-8B4A-8FFE-8C52E7F23597}" dt="2020-06-16T04:49:17.369" v="1110" actId="114"/>
          <ac:spMkLst>
            <pc:docMk/>
            <pc:sldMk cId="3168066364" sldId="256"/>
            <ac:spMk id="38" creationId="{04A57B99-E4AA-1243-916C-855B308F9375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42" creationId="{4ECF8CB9-A002-ED4B-8899-4B45127077F4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43" creationId="{B49ACCE4-21FA-B84E-A7DD-9E270F5D9881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46" creationId="{7F17A993-C0DA-A449-8E40-8C926C04A9D2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53" creationId="{0D333FBC-7AA1-A448-A521-AD576F96D878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59" creationId="{5F08C03D-6BF7-124E-BC37-F5B4330636A9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61" creationId="{71C73527-1EEC-9C4B-9089-00F8C16AD414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64" creationId="{81A20781-8663-2F41-A497-C4D57F4DE5E5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66" creationId="{C9F832F3-19D4-E046-9A4C-00866193A3E1}"/>
          </ac:spMkLst>
        </pc:spChg>
        <pc:spChg chg="del">
          <ac:chgData name="Christopher Schulz" userId="c7a37fbc-fc18-47fa-bc4e-1f96df76f530" providerId="ADAL" clId="{F93D3433-9EEF-8B4A-8FFE-8C52E7F23597}" dt="2020-06-16T04:38:16.364" v="281" actId="478"/>
          <ac:spMkLst>
            <pc:docMk/>
            <pc:sldMk cId="3168066364" sldId="256"/>
            <ac:spMk id="77" creationId="{689346B4-56EE-484D-98C1-4C85C5FB7AC9}"/>
          </ac:spMkLst>
        </pc:spChg>
        <pc:picChg chg="add mod">
          <ac:chgData name="Christopher Schulz" userId="c7a37fbc-fc18-47fa-bc4e-1f96df76f530" providerId="ADAL" clId="{F93D3433-9EEF-8B4A-8FFE-8C52E7F23597}" dt="2020-06-16T04:52:10.790" v="1125" actId="1076"/>
          <ac:picMkLst>
            <pc:docMk/>
            <pc:sldMk cId="3168066364" sldId="256"/>
            <ac:picMk id="6" creationId="{EB2D3B14-7130-6047-B42B-0675959EF053}"/>
          </ac:picMkLst>
        </pc:picChg>
        <pc:picChg chg="add mod">
          <ac:chgData name="Christopher Schulz" userId="c7a37fbc-fc18-47fa-bc4e-1f96df76f530" providerId="ADAL" clId="{F93D3433-9EEF-8B4A-8FFE-8C52E7F23597}" dt="2020-06-16T04:51:52.746" v="1120" actId="1076"/>
          <ac:picMkLst>
            <pc:docMk/>
            <pc:sldMk cId="3168066364" sldId="256"/>
            <ac:picMk id="8" creationId="{CADF6F7B-87FB-B845-9592-51C38AD7FFEE}"/>
          </ac:picMkLst>
        </pc:picChg>
        <pc:picChg chg="add mod">
          <ac:chgData name="Christopher Schulz" userId="c7a37fbc-fc18-47fa-bc4e-1f96df76f530" providerId="ADAL" clId="{F93D3433-9EEF-8B4A-8FFE-8C52E7F23597}" dt="2020-06-16T04:52:03.714" v="1124" actId="1037"/>
          <ac:picMkLst>
            <pc:docMk/>
            <pc:sldMk cId="3168066364" sldId="256"/>
            <ac:picMk id="10" creationId="{0105716E-C445-3B40-B8BA-FDF525C78281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29" creationId="{9CEDAD49-5502-9343-9AD9-A70CC91A95AA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31" creationId="{B7AAA3DC-0504-CB4C-A200-C0D3FB5B52D9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33" creationId="{78E99FA0-59A8-F840-95BD-C95183FFB10F}"/>
          </ac:picMkLst>
        </pc:picChg>
        <pc:picChg chg="add del mod">
          <ac:chgData name="Christopher Schulz" userId="c7a37fbc-fc18-47fa-bc4e-1f96df76f530" providerId="ADAL" clId="{F93D3433-9EEF-8B4A-8FFE-8C52E7F23597}" dt="2020-06-16T04:52:46.758" v="1130" actId="478"/>
          <ac:picMkLst>
            <pc:docMk/>
            <pc:sldMk cId="3168066364" sldId="256"/>
            <ac:picMk id="40" creationId="{A672AFB3-1886-3B4F-81BB-B8596C8480D9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44" creationId="{BD0C9887-E892-BB4C-BDAB-6469F8E26AF6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45" creationId="{06AE46DF-AA4D-C54F-B9A2-5266C874670C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47" creationId="{7DFA7178-584D-5349-9CBC-43D69C0DB09A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70" creationId="{1A05F362-4D05-8F4E-992C-75B98B6A5DA5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71" creationId="{983402E8-A46E-8B47-A133-C823413EC54F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72" creationId="{02C0DB24-6FD0-B746-8A62-E01986EADAB6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74" creationId="{3121D770-0C42-1544-8A1F-A6227274C75B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76" creationId="{15E66E4D-FAB3-5742-8D12-8CEB6CD159F8}"/>
          </ac:picMkLst>
        </pc:picChg>
        <pc:picChg chg="del">
          <ac:chgData name="Christopher Schulz" userId="c7a37fbc-fc18-47fa-bc4e-1f96df76f530" providerId="ADAL" clId="{F93D3433-9EEF-8B4A-8FFE-8C52E7F23597}" dt="2020-06-16T04:38:16.364" v="281" actId="478"/>
          <ac:picMkLst>
            <pc:docMk/>
            <pc:sldMk cId="3168066364" sldId="256"/>
            <ac:picMk id="79" creationId="{C5E1EDAC-30BB-1243-A314-4B48F0A3E523}"/>
          </ac:picMkLst>
        </pc:picChg>
      </pc:sldChg>
      <pc:sldChg chg="modSp">
        <pc:chgData name="Christopher Schulz" userId="c7a37fbc-fc18-47fa-bc4e-1f96df76f530" providerId="ADAL" clId="{F93D3433-9EEF-8B4A-8FFE-8C52E7F23597}" dt="2020-06-16T07:07:41.798" v="2878" actId="20577"/>
        <pc:sldMkLst>
          <pc:docMk/>
          <pc:sldMk cId="1472519979" sldId="436"/>
        </pc:sldMkLst>
        <pc:spChg chg="mod">
          <ac:chgData name="Christopher Schulz" userId="c7a37fbc-fc18-47fa-bc4e-1f96df76f530" providerId="ADAL" clId="{F93D3433-9EEF-8B4A-8FFE-8C52E7F23597}" dt="2020-06-16T04:54:40.859" v="1134" actId="2"/>
          <ac:spMkLst>
            <pc:docMk/>
            <pc:sldMk cId="1472519979" sldId="436"/>
            <ac:spMk id="9" creationId="{CF9ADDBA-443B-204E-B32A-778FA29DB81E}"/>
          </ac:spMkLst>
        </pc:spChg>
        <pc:spChg chg="mod">
          <ac:chgData name="Christopher Schulz" userId="c7a37fbc-fc18-47fa-bc4e-1f96df76f530" providerId="ADAL" clId="{F93D3433-9EEF-8B4A-8FFE-8C52E7F23597}" dt="2020-06-16T07:07:41.798" v="2878" actId="20577"/>
          <ac:spMkLst>
            <pc:docMk/>
            <pc:sldMk cId="1472519979" sldId="436"/>
            <ac:spMk id="10" creationId="{274B8FD3-DE57-F04F-8CE3-DD4FB0B74771}"/>
          </ac:spMkLst>
        </pc:spChg>
      </pc:sldChg>
      <pc:sldChg chg="addSp delSp modSp">
        <pc:chgData name="Christopher Schulz" userId="c7a37fbc-fc18-47fa-bc4e-1f96df76f530" providerId="ADAL" clId="{F93D3433-9EEF-8B4A-8FFE-8C52E7F23597}" dt="2020-06-16T04:54:33.473" v="1132" actId="2"/>
        <pc:sldMkLst>
          <pc:docMk/>
          <pc:sldMk cId="3209056058" sldId="440"/>
        </pc:sldMkLst>
        <pc:spChg chg="mod">
          <ac:chgData name="Christopher Schulz" userId="c7a37fbc-fc18-47fa-bc4e-1f96df76f530" providerId="ADAL" clId="{F93D3433-9EEF-8B4A-8FFE-8C52E7F23597}" dt="2020-06-16T04:36:02.103" v="113" actId="1076"/>
          <ac:spMkLst>
            <pc:docMk/>
            <pc:sldMk cId="3209056058" sldId="440"/>
            <ac:spMk id="12" creationId="{32EF9AB9-F3CC-6340-AFA5-FD80FF545825}"/>
          </ac:spMkLst>
        </pc:spChg>
        <pc:spChg chg="mod">
          <ac:chgData name="Christopher Schulz" userId="c7a37fbc-fc18-47fa-bc4e-1f96df76f530" providerId="ADAL" clId="{F93D3433-9EEF-8B4A-8FFE-8C52E7F23597}" dt="2020-06-16T04:54:33.473" v="1132" actId="2"/>
          <ac:spMkLst>
            <pc:docMk/>
            <pc:sldMk cId="3209056058" sldId="440"/>
            <ac:spMk id="16" creationId="{B6283CED-F12B-D640-B69C-31DCB8F74681}"/>
          </ac:spMkLst>
        </pc:spChg>
        <pc:picChg chg="del">
          <ac:chgData name="Christopher Schulz" userId="c7a37fbc-fc18-47fa-bc4e-1f96df76f530" providerId="ADAL" clId="{F93D3433-9EEF-8B4A-8FFE-8C52E7F23597}" dt="2020-06-16T04:34:15.790" v="99" actId="478"/>
          <ac:picMkLst>
            <pc:docMk/>
            <pc:sldMk cId="3209056058" sldId="440"/>
            <ac:picMk id="2" creationId="{222DAF1B-8164-DD4C-9A63-2D0EED30C40F}"/>
          </ac:picMkLst>
        </pc:picChg>
        <pc:picChg chg="add mod modCrop">
          <ac:chgData name="Christopher Schulz" userId="c7a37fbc-fc18-47fa-bc4e-1f96df76f530" providerId="ADAL" clId="{F93D3433-9EEF-8B4A-8FFE-8C52E7F23597}" dt="2020-06-16T04:36:11.861" v="114" actId="14100"/>
          <ac:picMkLst>
            <pc:docMk/>
            <pc:sldMk cId="3209056058" sldId="440"/>
            <ac:picMk id="4" creationId="{608AEB11-62F8-D742-AF68-7B78618CF115}"/>
          </ac:picMkLst>
        </pc:picChg>
      </pc:sldChg>
      <pc:sldChg chg="addSp delSp modSp">
        <pc:chgData name="Christopher Schulz" userId="c7a37fbc-fc18-47fa-bc4e-1f96df76f530" providerId="ADAL" clId="{F93D3433-9EEF-8B4A-8FFE-8C52E7F23597}" dt="2020-06-16T07:07:09.569" v="2830" actId="790"/>
        <pc:sldMkLst>
          <pc:docMk/>
          <pc:sldMk cId="262661586" sldId="441"/>
        </pc:sldMkLst>
        <pc:spChg chg="mod">
          <ac:chgData name="Christopher Schulz" userId="c7a37fbc-fc18-47fa-bc4e-1f96df76f530" providerId="ADAL" clId="{F93D3433-9EEF-8B4A-8FFE-8C52E7F23597}" dt="2020-06-16T05:08:06.956" v="1214" actId="20577"/>
          <ac:spMkLst>
            <pc:docMk/>
            <pc:sldMk cId="262661586" sldId="441"/>
            <ac:spMk id="2" creationId="{D68C5A50-1913-4507-988E-B3319E45906C}"/>
          </ac:spMkLst>
        </pc:spChg>
        <pc:spChg chg="mod">
          <ac:chgData name="Christopher Schulz" userId="c7a37fbc-fc18-47fa-bc4e-1f96df76f530" providerId="ADAL" clId="{F93D3433-9EEF-8B4A-8FFE-8C52E7F23597}" dt="2020-06-16T07:07:09.569" v="2830" actId="790"/>
          <ac:spMkLst>
            <pc:docMk/>
            <pc:sldMk cId="262661586" sldId="441"/>
            <ac:spMk id="3" creationId="{5F0B0340-28DE-4C04-BA5A-1EB9C2F0782D}"/>
          </ac:spMkLst>
        </pc:spChg>
        <pc:spChg chg="add mod">
          <ac:chgData name="Christopher Schulz" userId="c7a37fbc-fc18-47fa-bc4e-1f96df76f530" providerId="ADAL" clId="{F93D3433-9EEF-8B4A-8FFE-8C52E7F23597}" dt="2020-06-16T07:06:20.724" v="2820" actId="20577"/>
          <ac:spMkLst>
            <pc:docMk/>
            <pc:sldMk cId="262661586" sldId="441"/>
            <ac:spMk id="4" creationId="{B43204FF-25E5-8047-AB49-2A45E24DC47C}"/>
          </ac:spMkLst>
        </pc:spChg>
        <pc:spChg chg="add mod">
          <ac:chgData name="Christopher Schulz" userId="c7a37fbc-fc18-47fa-bc4e-1f96df76f530" providerId="ADAL" clId="{F93D3433-9EEF-8B4A-8FFE-8C52E7F23597}" dt="2020-06-16T07:06:32.981" v="2825" actId="20577"/>
          <ac:spMkLst>
            <pc:docMk/>
            <pc:sldMk cId="262661586" sldId="441"/>
            <ac:spMk id="29" creationId="{AE88982A-72CE-BF4B-9CD4-40ACE8E50CF2}"/>
          </ac:spMkLst>
        </pc:spChg>
        <pc:spChg chg="add mod">
          <ac:chgData name="Christopher Schulz" userId="c7a37fbc-fc18-47fa-bc4e-1f96df76f530" providerId="ADAL" clId="{F93D3433-9EEF-8B4A-8FFE-8C52E7F23597}" dt="2020-06-16T07:06:35.163" v="2826" actId="20577"/>
          <ac:spMkLst>
            <pc:docMk/>
            <pc:sldMk cId="262661586" sldId="441"/>
            <ac:spMk id="30" creationId="{173D5436-ACFD-7340-A1D3-8DDD9F0DBD5C}"/>
          </ac:spMkLst>
        </pc:spChg>
        <pc:spChg chg="add mod">
          <ac:chgData name="Christopher Schulz" userId="c7a37fbc-fc18-47fa-bc4e-1f96df76f530" providerId="ADAL" clId="{F93D3433-9EEF-8B4A-8FFE-8C52E7F23597}" dt="2020-06-16T07:06:24.750" v="2822" actId="20577"/>
          <ac:spMkLst>
            <pc:docMk/>
            <pc:sldMk cId="262661586" sldId="441"/>
            <ac:spMk id="31" creationId="{E3846A96-6FAC-5844-82F3-FF76245E1BB0}"/>
          </ac:spMkLst>
        </pc:spChg>
        <pc:spChg chg="add mod">
          <ac:chgData name="Christopher Schulz" userId="c7a37fbc-fc18-47fa-bc4e-1f96df76f530" providerId="ADAL" clId="{F93D3433-9EEF-8B4A-8FFE-8C52E7F23597}" dt="2020-06-16T07:06:23.008" v="2821" actId="20577"/>
          <ac:spMkLst>
            <pc:docMk/>
            <pc:sldMk cId="262661586" sldId="441"/>
            <ac:spMk id="32" creationId="{018B68BD-D407-2747-8E09-D97E1E2E8A24}"/>
          </ac:spMkLst>
        </pc:spChg>
        <pc:spChg chg="add mod">
          <ac:chgData name="Christopher Schulz" userId="c7a37fbc-fc18-47fa-bc4e-1f96df76f530" providerId="ADAL" clId="{F93D3433-9EEF-8B4A-8FFE-8C52E7F23597}" dt="2020-06-16T07:06:28.698" v="2824" actId="20577"/>
          <ac:spMkLst>
            <pc:docMk/>
            <pc:sldMk cId="262661586" sldId="441"/>
            <ac:spMk id="33" creationId="{6EA1CD77-7B2B-EA45-AB72-E5F9122B9C9F}"/>
          </ac:spMkLst>
        </pc:spChg>
        <pc:spChg chg="add mod">
          <ac:chgData name="Christopher Schulz" userId="c7a37fbc-fc18-47fa-bc4e-1f96df76f530" providerId="ADAL" clId="{F93D3433-9EEF-8B4A-8FFE-8C52E7F23597}" dt="2020-06-16T07:05:58.484" v="2816" actId="20577"/>
          <ac:spMkLst>
            <pc:docMk/>
            <pc:sldMk cId="262661586" sldId="441"/>
            <ac:spMk id="34" creationId="{3DC12465-D239-974C-8798-265DB45FA660}"/>
          </ac:spMkLst>
        </pc:spChg>
        <pc:spChg chg="add mod">
          <ac:chgData name="Christopher Schulz" userId="c7a37fbc-fc18-47fa-bc4e-1f96df76f530" providerId="ADAL" clId="{F93D3433-9EEF-8B4A-8FFE-8C52E7F23597}" dt="2020-06-16T07:06:26.611" v="2823" actId="20577"/>
          <ac:spMkLst>
            <pc:docMk/>
            <pc:sldMk cId="262661586" sldId="441"/>
            <ac:spMk id="35" creationId="{A0D7FF50-9140-9E42-8C49-5F91FA3EE959}"/>
          </ac:spMkLst>
        </pc:spChg>
        <pc:spChg chg="add mod">
          <ac:chgData name="Christopher Schulz" userId="c7a37fbc-fc18-47fa-bc4e-1f96df76f530" providerId="ADAL" clId="{F93D3433-9EEF-8B4A-8FFE-8C52E7F23597}" dt="2020-06-16T07:06:38.299" v="2827" actId="20577"/>
          <ac:spMkLst>
            <pc:docMk/>
            <pc:sldMk cId="262661586" sldId="441"/>
            <ac:spMk id="36" creationId="{7EAA5F4F-BC66-094E-8D36-69E105B9661F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37" creationId="{E2D8279B-9301-7743-BE08-D3D3A18FF1B0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39" creationId="{A5D49209-9DCF-3B47-92CC-E6731C6E7786}"/>
          </ac:spMkLst>
        </pc:spChg>
        <pc:spChg chg="add mod">
          <ac:chgData name="Christopher Schulz" userId="c7a37fbc-fc18-47fa-bc4e-1f96df76f530" providerId="ADAL" clId="{F93D3433-9EEF-8B4A-8FFE-8C52E7F23597}" dt="2020-06-16T07:06:41.475" v="2828" actId="20577"/>
          <ac:spMkLst>
            <pc:docMk/>
            <pc:sldMk cId="262661586" sldId="441"/>
            <ac:spMk id="40" creationId="{D8F991DF-6DAF-9842-9F55-E907E9FE2E28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53" creationId="{0D333FBC-7AA1-A448-A521-AD576F96D878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54" creationId="{E53354FD-A7ED-F741-90BC-3497A87A2154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59" creationId="{5F08C03D-6BF7-124E-BC37-F5B4330636A9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60" creationId="{FBEF7467-2272-8C42-A10A-0A45907C2AF1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61" creationId="{71C73527-1EEC-9C4B-9089-00F8C16AD414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64" creationId="{81A20781-8663-2F41-A497-C4D57F4DE5E5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66" creationId="{C9F832F3-19D4-E046-9A4C-00866193A3E1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68" creationId="{B4587D13-8F0D-2640-A4F5-B5F2BB27D966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77" creationId="{689346B4-56EE-484D-98C1-4C85C5FB7AC9}"/>
          </ac:spMkLst>
        </pc:spChg>
        <pc:spChg chg="del">
          <ac:chgData name="Christopher Schulz" userId="c7a37fbc-fc18-47fa-bc4e-1f96df76f530" providerId="ADAL" clId="{F93D3433-9EEF-8B4A-8FFE-8C52E7F23597}" dt="2020-06-16T04:53:28.496" v="1131" actId="478"/>
          <ac:spMkLst>
            <pc:docMk/>
            <pc:sldMk cId="262661586" sldId="441"/>
            <ac:spMk id="78" creationId="{E1A175B2-75F9-7741-9683-4400A733C301}"/>
          </ac:spMkLst>
        </pc:sp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6" creationId="{48C54CB0-2406-864D-ACAF-5078FBC4DE4F}"/>
          </ac:picMkLst>
        </pc:picChg>
        <pc:picChg chg="add mod">
          <ac:chgData name="Christopher Schulz" userId="c7a37fbc-fc18-47fa-bc4e-1f96df76f530" providerId="ADAL" clId="{F93D3433-9EEF-8B4A-8FFE-8C52E7F23597}" dt="2020-06-16T07:04:05.412" v="2780" actId="1076"/>
          <ac:picMkLst>
            <pc:docMk/>
            <pc:sldMk cId="262661586" sldId="441"/>
            <ac:picMk id="7" creationId="{0904A7D1-E1D6-4246-B898-B7C4D9195DA8}"/>
          </ac:picMkLst>
        </pc:picChg>
        <pc:picChg chg="add mod">
          <ac:chgData name="Christopher Schulz" userId="c7a37fbc-fc18-47fa-bc4e-1f96df76f530" providerId="ADAL" clId="{F93D3433-9EEF-8B4A-8FFE-8C52E7F23597}" dt="2020-06-16T07:02:51.469" v="2775" actId="554"/>
          <ac:picMkLst>
            <pc:docMk/>
            <pc:sldMk cId="262661586" sldId="441"/>
            <ac:picMk id="9" creationId="{84613B90-2725-F548-8AD1-ED4E84586F3E}"/>
          </ac:picMkLst>
        </pc:picChg>
        <pc:picChg chg="add mod">
          <ac:chgData name="Christopher Schulz" userId="c7a37fbc-fc18-47fa-bc4e-1f96df76f530" providerId="ADAL" clId="{F93D3433-9EEF-8B4A-8FFE-8C52E7F23597}" dt="2020-06-16T07:03:55.676" v="2778" actId="1076"/>
          <ac:picMkLst>
            <pc:docMk/>
            <pc:sldMk cId="262661586" sldId="441"/>
            <ac:picMk id="11" creationId="{87DC838A-9860-5B4B-861D-AAB576ADCF7F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13" creationId="{816934EC-9CE3-C64E-8339-BD755457E972}"/>
          </ac:picMkLst>
        </pc:picChg>
        <pc:picChg chg="add mod">
          <ac:chgData name="Christopher Schulz" userId="c7a37fbc-fc18-47fa-bc4e-1f96df76f530" providerId="ADAL" clId="{F93D3433-9EEF-8B4A-8FFE-8C52E7F23597}" dt="2020-06-16T07:04:05.412" v="2780" actId="1076"/>
          <ac:picMkLst>
            <pc:docMk/>
            <pc:sldMk cId="262661586" sldId="441"/>
            <ac:picMk id="14" creationId="{85BDEA3D-E2B0-874B-9299-6400A7F5D4CC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15" creationId="{6B899187-6334-0948-B2DD-37154501F267}"/>
          </ac:picMkLst>
        </pc:picChg>
        <pc:picChg chg="add mod">
          <ac:chgData name="Christopher Schulz" userId="c7a37fbc-fc18-47fa-bc4e-1f96df76f530" providerId="ADAL" clId="{F93D3433-9EEF-8B4A-8FFE-8C52E7F23597}" dt="2020-06-16T07:02:51.469" v="2775" actId="554"/>
          <ac:picMkLst>
            <pc:docMk/>
            <pc:sldMk cId="262661586" sldId="441"/>
            <ac:picMk id="17" creationId="{0B5E0F6D-8260-804A-B369-0346663761CB}"/>
          </ac:picMkLst>
        </pc:picChg>
        <pc:picChg chg="add mod">
          <ac:chgData name="Christopher Schulz" userId="c7a37fbc-fc18-47fa-bc4e-1f96df76f530" providerId="ADAL" clId="{F93D3433-9EEF-8B4A-8FFE-8C52E7F23597}" dt="2020-06-16T07:02:57.359" v="2776" actId="554"/>
          <ac:picMkLst>
            <pc:docMk/>
            <pc:sldMk cId="262661586" sldId="441"/>
            <ac:picMk id="19" creationId="{BC80BF6B-15DC-6042-A404-85E69718A62A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20" creationId="{4CF69001-37FA-CC44-ACF5-2E27017AEFC5}"/>
          </ac:picMkLst>
        </pc:picChg>
        <pc:picChg chg="add mod">
          <ac:chgData name="Christopher Schulz" userId="c7a37fbc-fc18-47fa-bc4e-1f96df76f530" providerId="ADAL" clId="{F93D3433-9EEF-8B4A-8FFE-8C52E7F23597}" dt="2020-06-16T07:03:55.676" v="2778" actId="1076"/>
          <ac:picMkLst>
            <pc:docMk/>
            <pc:sldMk cId="262661586" sldId="441"/>
            <ac:picMk id="22" creationId="{1F7E6410-6B9D-8349-A22A-8A945EBFB30D}"/>
          </ac:picMkLst>
        </pc:picChg>
        <pc:picChg chg="add mod">
          <ac:chgData name="Christopher Schulz" userId="c7a37fbc-fc18-47fa-bc4e-1f96df76f530" providerId="ADAL" clId="{F93D3433-9EEF-8B4A-8FFE-8C52E7F23597}" dt="2020-06-16T07:04:05.412" v="2780" actId="1076"/>
          <ac:picMkLst>
            <pc:docMk/>
            <pc:sldMk cId="262661586" sldId="441"/>
            <ac:picMk id="24" creationId="{B9017C9B-BCAA-9A4A-8378-D4196FB80CF5}"/>
          </ac:picMkLst>
        </pc:picChg>
        <pc:picChg chg="add mod">
          <ac:chgData name="Christopher Schulz" userId="c7a37fbc-fc18-47fa-bc4e-1f96df76f530" providerId="ADAL" clId="{F93D3433-9EEF-8B4A-8FFE-8C52E7F23597}" dt="2020-06-16T07:03:55.676" v="2778" actId="1076"/>
          <ac:picMkLst>
            <pc:docMk/>
            <pc:sldMk cId="262661586" sldId="441"/>
            <ac:picMk id="26" creationId="{6571680A-D1A5-EF4F-94F7-7A49D57C9068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28" creationId="{BA64281B-37C3-BE4C-88DB-E151EA1D1763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38" creationId="{40B1BBAA-A9AD-234A-88FD-42EEBB1715CF}"/>
          </ac:picMkLst>
        </pc:picChg>
        <pc:picChg chg="add mod">
          <ac:chgData name="Christopher Schulz" userId="c7a37fbc-fc18-47fa-bc4e-1f96df76f530" providerId="ADAL" clId="{F93D3433-9EEF-8B4A-8FFE-8C52E7F23597}" dt="2020-06-16T07:02:57.359" v="2776" actId="554"/>
          <ac:picMkLst>
            <pc:docMk/>
            <pc:sldMk cId="262661586" sldId="441"/>
            <ac:picMk id="41" creationId="{180199BF-5085-054D-A994-9D85B61B7AB2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70" creationId="{1A05F362-4D05-8F4E-992C-75B98B6A5DA5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71" creationId="{983402E8-A46E-8B47-A133-C823413EC54F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72" creationId="{02C0DB24-6FD0-B746-8A62-E01986EADAB6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74" creationId="{3121D770-0C42-1544-8A1F-A6227274C75B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76" creationId="{15E66E4D-FAB3-5742-8D12-8CEB6CD159F8}"/>
          </ac:picMkLst>
        </pc:picChg>
        <pc:picChg chg="del">
          <ac:chgData name="Christopher Schulz" userId="c7a37fbc-fc18-47fa-bc4e-1f96df76f530" providerId="ADAL" clId="{F93D3433-9EEF-8B4A-8FFE-8C52E7F23597}" dt="2020-06-16T04:53:28.496" v="1131" actId="478"/>
          <ac:picMkLst>
            <pc:docMk/>
            <pc:sldMk cId="262661586" sldId="441"/>
            <ac:picMk id="79" creationId="{C5E1EDAC-30BB-1243-A314-4B48F0A3E523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723C8B-2717-4CDE-BEE6-18ABB9C6FA79}" type="datetimeFigureOut">
              <a:rPr lang="de-DE" smtClean="0"/>
              <a:t>27.09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1D63DA-5223-4012-9641-AF0D026023A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16333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6D25BE-4D64-4415-8FA1-241CC2DCED3A}" type="datetimeFigureOut">
              <a:rPr lang="de-DE" smtClean="0"/>
              <a:t>27.09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0488FB-7475-4B88-89D7-DBB5E54523E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1249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ild ersetz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0488FB-7475-4B88-89D7-DBB5E54523E4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4524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Sub-Titel_intern_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9077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72"/>
          <p:cNvSpPr>
            <a:spLocks noGrp="1"/>
          </p:cNvSpPr>
          <p:nvPr>
            <p:ph type="title"/>
          </p:nvPr>
        </p:nvSpPr>
        <p:spPr>
          <a:xfrm>
            <a:off x="457200" y="50801"/>
            <a:ext cx="7210425" cy="364902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>
              <a:defRPr>
                <a:solidFill>
                  <a:srgbClr val="4C586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 flipH="1">
            <a:off x="466972" y="730133"/>
            <a:ext cx="7200000" cy="0"/>
          </a:xfrm>
          <a:prstGeom prst="line">
            <a:avLst/>
          </a:prstGeom>
          <a:ln cap="flat">
            <a:solidFill>
              <a:srgbClr val="7373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466725" y="415703"/>
            <a:ext cx="7200900" cy="319310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600" baseline="0">
                <a:solidFill>
                  <a:srgbClr val="4C5861"/>
                </a:solidFill>
                <a:latin typeface="+mn-lt"/>
              </a:defRPr>
            </a:lvl1pPr>
            <a:lvl2pPr marL="800100" indent="-342900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12001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573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4pPr>
            <a:lvl5pPr marL="2114550" indent="-285750"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/>
              <a:t>Sub-Headline – Arial – 16px</a:t>
            </a:r>
          </a:p>
        </p:txBody>
      </p:sp>
      <p:sp>
        <p:nvSpPr>
          <p:cNvPr id="7" name="Datumsplatzhalter 1"/>
          <p:cNvSpPr>
            <a:spLocks noGrp="1"/>
          </p:cNvSpPr>
          <p:nvPr>
            <p:ph type="dt" sz="half" idx="2"/>
          </p:nvPr>
        </p:nvSpPr>
        <p:spPr>
          <a:xfrm>
            <a:off x="475655" y="4729006"/>
            <a:ext cx="566935" cy="2746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de-DE" sz="800" smtClean="0">
                <a:solidFill>
                  <a:srgbClr val="4C586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26"/>
            <a:r>
              <a:rPr lang="de-DE"/>
              <a:t>08.06.2015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68313" y="915988"/>
            <a:ext cx="8273951" cy="3671887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1pPr>
            <a:lvl2pPr marL="625475" indent="-168275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2pPr>
            <a:lvl3pPr marL="1074738" indent="-160338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3pPr>
            <a:lvl4pPr marL="1524000" indent="-152400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4pPr>
            <a:lvl5pPr marL="1973263" indent="-144463">
              <a:buClr>
                <a:srgbClr val="3F98A6"/>
              </a:buClr>
              <a:buFont typeface="Wingdings" panose="05000000000000000000" pitchFamily="2" charset="2"/>
              <a:buChar char="§"/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B4887A4-73DA-4E9E-9DF2-7409FE406A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84368" y="242398"/>
            <a:ext cx="105375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94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eite mit blaue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-27940" y="0"/>
            <a:ext cx="9180000" cy="3291830"/>
          </a:xfrm>
          <a:prstGeom prst="rect">
            <a:avLst/>
          </a:prstGeom>
          <a:solidFill>
            <a:srgbClr val="3F98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Helvetic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8313" y="3507854"/>
            <a:ext cx="8424862" cy="4544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8313" y="3795886"/>
            <a:ext cx="8424862" cy="3612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accent6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68313" y="4362450"/>
            <a:ext cx="3924300" cy="215900"/>
          </a:xfrm>
          <a:prstGeom prst="rect">
            <a:avLst/>
          </a:prstGeom>
        </p:spPr>
        <p:txBody>
          <a:bodyPr tIns="46800" anchor="ctr"/>
          <a:lstStyle>
            <a:lvl1pPr>
              <a:defRPr sz="12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Autor: Vorname, Nachna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5B0BB9-1CCD-FB4F-A0D7-42C445E632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1104" y="267494"/>
            <a:ext cx="1516162" cy="517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1240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87F104-FA62-4A9D-B309-2FB961B4B3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1A00EA9-C545-4D13-94CE-8BC4B0E409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D3BC9E-D50A-4C33-8455-E66DEA420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D660A-03D6-48BE-83F1-0DBF378AD796}" type="datetimeFigureOut">
              <a:rPr lang="de-DE" smtClean="0"/>
              <a:t>27.09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79771ED-962B-4C3B-852F-1A08CDAE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B4BAF7-ABAD-4BCE-9EDE-3C77459C1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CCDE2-B182-4B76-91E2-D732A4F9AD8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89323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heme" Target="../theme/theme1.x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00873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216" imgH="216" progId="TCLayout.ActiveDocument.1">
                  <p:embed/>
                </p:oleObj>
              </mc:Choice>
              <mc:Fallback>
                <p:oleObj name="think-cell Folie" r:id="rId20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Gerade Verbindung 18"/>
          <p:cNvCxnSpPr/>
          <p:nvPr>
            <p:custDataLst>
              <p:tags r:id="rId6"/>
            </p:custDataLst>
          </p:nvPr>
        </p:nvCxnSpPr>
        <p:spPr bwMode="auto">
          <a:xfrm flipH="1">
            <a:off x="-252537" y="156761"/>
            <a:ext cx="216000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 Verbindung 36"/>
          <p:cNvCxnSpPr/>
          <p:nvPr>
            <p:custDataLst>
              <p:tags r:id="rId7"/>
            </p:custDataLst>
          </p:nvPr>
        </p:nvCxnSpPr>
        <p:spPr bwMode="auto">
          <a:xfrm flipH="1">
            <a:off x="467497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ctangle 50"/>
          <p:cNvSpPr>
            <a:spLocks noChangeArrowheads="1"/>
          </p:cNvSpPr>
          <p:nvPr/>
        </p:nvSpPr>
        <p:spPr bwMode="gray">
          <a:xfrm>
            <a:off x="-1003278" y="50800"/>
            <a:ext cx="612825" cy="595188"/>
          </a:xfrm>
          <a:prstGeom prst="rect">
            <a:avLst/>
          </a:prstGeom>
          <a:solidFill>
            <a:srgbClr val="3F98A6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63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52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66</a:t>
            </a:r>
          </a:p>
        </p:txBody>
      </p:sp>
      <p:sp>
        <p:nvSpPr>
          <p:cNvPr id="43" name="Rectangle 51"/>
          <p:cNvSpPr>
            <a:spLocks noChangeArrowheads="1"/>
          </p:cNvSpPr>
          <p:nvPr/>
        </p:nvSpPr>
        <p:spPr bwMode="gray">
          <a:xfrm>
            <a:off x="-1003278" y="676225"/>
            <a:ext cx="613962" cy="596293"/>
          </a:xfrm>
          <a:prstGeom prst="rect">
            <a:avLst/>
          </a:prstGeom>
          <a:solidFill>
            <a:srgbClr val="4DC1CB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77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93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03</a:t>
            </a:r>
          </a:p>
        </p:txBody>
      </p:sp>
      <p:sp>
        <p:nvSpPr>
          <p:cNvPr id="44" name="Rectangle 52"/>
          <p:cNvSpPr>
            <a:spLocks noChangeArrowheads="1"/>
          </p:cNvSpPr>
          <p:nvPr/>
        </p:nvSpPr>
        <p:spPr bwMode="gray">
          <a:xfrm>
            <a:off x="-1003278" y="1324297"/>
            <a:ext cx="613962" cy="596293"/>
          </a:xfrm>
          <a:prstGeom prst="rect">
            <a:avLst/>
          </a:prstGeom>
          <a:solidFill>
            <a:srgbClr val="4C5861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36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2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00</a:t>
            </a:r>
          </a:p>
        </p:txBody>
      </p:sp>
      <p:sp>
        <p:nvSpPr>
          <p:cNvPr id="45" name="Rectangle 53"/>
          <p:cNvSpPr>
            <a:spLocks noChangeArrowheads="1"/>
          </p:cNvSpPr>
          <p:nvPr/>
        </p:nvSpPr>
        <p:spPr bwMode="gray">
          <a:xfrm>
            <a:off x="-1003278" y="1972369"/>
            <a:ext cx="613962" cy="59629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7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4</a:t>
            </a:r>
          </a:p>
        </p:txBody>
      </p:sp>
      <p:sp>
        <p:nvSpPr>
          <p:cNvPr id="46" name="Rectangle 54"/>
          <p:cNvSpPr>
            <a:spLocks noChangeArrowheads="1"/>
          </p:cNvSpPr>
          <p:nvPr/>
        </p:nvSpPr>
        <p:spPr bwMode="gray">
          <a:xfrm>
            <a:off x="-1003278" y="2620441"/>
            <a:ext cx="612824" cy="59518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25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197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0</a:t>
            </a:r>
          </a:p>
        </p:txBody>
      </p:sp>
      <p:sp>
        <p:nvSpPr>
          <p:cNvPr id="47" name="Rectangle 55"/>
          <p:cNvSpPr>
            <a:spLocks noChangeArrowheads="1"/>
          </p:cNvSpPr>
          <p:nvPr/>
        </p:nvSpPr>
        <p:spPr bwMode="gray">
          <a:xfrm>
            <a:off x="-1003278" y="3248632"/>
            <a:ext cx="613962" cy="59629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5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5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</p:txBody>
      </p:sp>
      <p:sp>
        <p:nvSpPr>
          <p:cNvPr id="48" name="Rectangle 56"/>
          <p:cNvSpPr>
            <a:spLocks noChangeArrowheads="1"/>
          </p:cNvSpPr>
          <p:nvPr/>
        </p:nvSpPr>
        <p:spPr bwMode="gray">
          <a:xfrm>
            <a:off x="-1003278" y="3867785"/>
            <a:ext cx="613962" cy="596293"/>
          </a:xfrm>
          <a:prstGeom prst="rect">
            <a:avLst/>
          </a:prstGeom>
          <a:solidFill>
            <a:srgbClr val="AA142D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9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0</a:t>
            </a:r>
          </a:p>
        </p:txBody>
      </p:sp>
      <p:cxnSp>
        <p:nvCxnSpPr>
          <p:cNvPr id="61" name="Gerade Verbindung 60"/>
          <p:cNvCxnSpPr/>
          <p:nvPr/>
        </p:nvCxnSpPr>
        <p:spPr>
          <a:xfrm flipH="1">
            <a:off x="469449" y="4731990"/>
            <a:ext cx="8259897" cy="0"/>
          </a:xfrm>
          <a:prstGeom prst="line">
            <a:avLst/>
          </a:prstGeom>
          <a:ln cap="flat">
            <a:solidFill>
              <a:srgbClr val="7373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>
            <p:custDataLst>
              <p:tags r:id="rId8"/>
            </p:custDataLst>
          </p:nvPr>
        </p:nvCxnSpPr>
        <p:spPr bwMode="auto">
          <a:xfrm flipH="1">
            <a:off x="-252536" y="733108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>
            <p:custDataLst>
              <p:tags r:id="rId9"/>
            </p:custDataLst>
          </p:nvPr>
        </p:nvCxnSpPr>
        <p:spPr bwMode="auto">
          <a:xfrm flipH="1">
            <a:off x="-252536" y="2569276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>
            <p:custDataLst>
              <p:tags r:id="rId10"/>
            </p:custDataLst>
          </p:nvPr>
        </p:nvCxnSpPr>
        <p:spPr bwMode="auto">
          <a:xfrm flipH="1">
            <a:off x="-252536" y="4729006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Gerade Verbindung 65"/>
          <p:cNvCxnSpPr/>
          <p:nvPr>
            <p:custDataLst>
              <p:tags r:id="rId11"/>
            </p:custDataLst>
          </p:nvPr>
        </p:nvCxnSpPr>
        <p:spPr bwMode="auto">
          <a:xfrm flipH="1">
            <a:off x="-252536" y="4767263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Gerade Verbindung 66"/>
          <p:cNvCxnSpPr/>
          <p:nvPr>
            <p:custDataLst>
              <p:tags r:id="rId12"/>
            </p:custDataLst>
          </p:nvPr>
        </p:nvCxnSpPr>
        <p:spPr bwMode="auto">
          <a:xfrm flipH="1">
            <a:off x="-252536" y="4945380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Gerade Verbindung 69"/>
          <p:cNvCxnSpPr/>
          <p:nvPr>
            <p:custDataLst>
              <p:tags r:id="rId13"/>
            </p:custDataLst>
          </p:nvPr>
        </p:nvCxnSpPr>
        <p:spPr bwMode="auto">
          <a:xfrm flipH="1">
            <a:off x="7667625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Gerade Verbindung 70"/>
          <p:cNvCxnSpPr/>
          <p:nvPr>
            <p:custDataLst>
              <p:tags r:id="rId14"/>
            </p:custDataLst>
          </p:nvPr>
        </p:nvCxnSpPr>
        <p:spPr bwMode="auto">
          <a:xfrm flipH="1">
            <a:off x="8889365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Rectangle 56"/>
          <p:cNvSpPr>
            <a:spLocks noChangeArrowheads="1"/>
          </p:cNvSpPr>
          <p:nvPr/>
        </p:nvSpPr>
        <p:spPr bwMode="gray">
          <a:xfrm>
            <a:off x="-1003278" y="4503367"/>
            <a:ext cx="613962" cy="596293"/>
          </a:xfrm>
          <a:prstGeom prst="rect">
            <a:avLst/>
          </a:prstGeom>
          <a:solidFill>
            <a:srgbClr val="737373"/>
          </a:solidFill>
          <a:ln w="9525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5</a:t>
            </a:r>
            <a:b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5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5</a:t>
            </a:r>
          </a:p>
        </p:txBody>
      </p:sp>
      <p:cxnSp>
        <p:nvCxnSpPr>
          <p:cNvPr id="76" name="Gerade Verbindung 75"/>
          <p:cNvCxnSpPr/>
          <p:nvPr>
            <p:custDataLst>
              <p:tags r:id="rId15"/>
            </p:custDataLst>
          </p:nvPr>
        </p:nvCxnSpPr>
        <p:spPr bwMode="auto">
          <a:xfrm flipH="1">
            <a:off x="-252536" y="909956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Gerade Verbindung 76"/>
          <p:cNvCxnSpPr/>
          <p:nvPr>
            <p:custDataLst>
              <p:tags r:id="rId16"/>
            </p:custDataLst>
          </p:nvPr>
        </p:nvCxnSpPr>
        <p:spPr bwMode="auto">
          <a:xfrm flipH="1">
            <a:off x="-252536" y="4587875"/>
            <a:ext cx="207393" cy="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Gerade Verbindung 77"/>
          <p:cNvCxnSpPr/>
          <p:nvPr>
            <p:custDataLst>
              <p:tags r:id="rId17"/>
            </p:custDataLst>
          </p:nvPr>
        </p:nvCxnSpPr>
        <p:spPr bwMode="auto">
          <a:xfrm flipH="1">
            <a:off x="4752020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>
            <p:custDataLst>
              <p:tags r:id="rId18"/>
            </p:custDataLst>
          </p:nvPr>
        </p:nvCxnSpPr>
        <p:spPr bwMode="auto">
          <a:xfrm flipH="1">
            <a:off x="4392613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Gerade Verbindung 79"/>
          <p:cNvCxnSpPr/>
          <p:nvPr>
            <p:custDataLst>
              <p:tags r:id="rId19"/>
            </p:custDataLst>
          </p:nvPr>
        </p:nvCxnSpPr>
        <p:spPr bwMode="auto">
          <a:xfrm flipH="1">
            <a:off x="8729346" y="-236562"/>
            <a:ext cx="0" cy="216000"/>
          </a:xfrm>
          <a:prstGeom prst="line">
            <a:avLst/>
          </a:prstGeom>
          <a:ln w="6350">
            <a:solidFill>
              <a:srgbClr val="003D7B"/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 rot="16200000">
            <a:off x="-72997" y="-593469"/>
            <a:ext cx="899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Weißer Rand links [kein Content!!]</a:t>
            </a:r>
          </a:p>
        </p:txBody>
      </p:sp>
      <p:sp>
        <p:nvSpPr>
          <p:cNvPr id="32" name="Textfeld 31"/>
          <p:cNvSpPr txBox="1"/>
          <p:nvPr/>
        </p:nvSpPr>
        <p:spPr>
          <a:xfrm rot="16200000">
            <a:off x="8528292" y="-593469"/>
            <a:ext cx="899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Weißer Rand rechts [kein Content!]</a:t>
            </a:r>
          </a:p>
        </p:txBody>
      </p:sp>
      <p:sp>
        <p:nvSpPr>
          <p:cNvPr id="33" name="Textfeld 32"/>
          <p:cNvSpPr txBox="1"/>
          <p:nvPr/>
        </p:nvSpPr>
        <p:spPr>
          <a:xfrm rot="16200000">
            <a:off x="4072352" y="-554998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Mittellinie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9150814" y="-9254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Start Header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9150814" y="59158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Ende Header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9150814" y="77570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Start Content</a:t>
            </a:r>
          </a:p>
        </p:txBody>
      </p:sp>
      <p:sp>
        <p:nvSpPr>
          <p:cNvPr id="38" name="Textfeld 37"/>
          <p:cNvSpPr txBox="1"/>
          <p:nvPr/>
        </p:nvSpPr>
        <p:spPr>
          <a:xfrm>
            <a:off x="9150814" y="241902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Mittellinie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9150814" y="4416382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Ende Content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9150814" y="4584583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Start </a:t>
            </a:r>
            <a:r>
              <a:rPr lang="de-DE" sz="500" dirty="0" err="1"/>
              <a:t>Foooter</a:t>
            </a:r>
            <a:endParaRPr lang="de-DE" sz="500" dirty="0"/>
          </a:p>
        </p:txBody>
      </p:sp>
      <p:sp>
        <p:nvSpPr>
          <p:cNvPr id="41" name="Textfeld 40"/>
          <p:cNvSpPr txBox="1"/>
          <p:nvPr/>
        </p:nvSpPr>
        <p:spPr>
          <a:xfrm>
            <a:off x="9150814" y="4801513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/>
              <a:t>Weißer Rand unten</a:t>
            </a:r>
          </a:p>
        </p:txBody>
      </p:sp>
      <p:sp>
        <p:nvSpPr>
          <p:cNvPr id="51" name="Textfeld 50"/>
          <p:cNvSpPr txBox="1"/>
          <p:nvPr/>
        </p:nvSpPr>
        <p:spPr>
          <a:xfrm rot="16200000">
            <a:off x="7130780" y="-554998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/>
              <a:t>Logo Start</a:t>
            </a:r>
          </a:p>
        </p:txBody>
      </p:sp>
      <p:sp>
        <p:nvSpPr>
          <p:cNvPr id="52" name="Textfeld 51"/>
          <p:cNvSpPr txBox="1"/>
          <p:nvPr/>
        </p:nvSpPr>
        <p:spPr>
          <a:xfrm rot="16200000">
            <a:off x="8222296" y="-554999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/>
              <a:t>Logo Ende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-1902870" y="263755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/>
              <a:t>Dunkel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-1836712" y="892931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/>
              <a:t>Hell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-1902870" y="1537804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/>
              <a:t>Schrift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-1902870" y="218587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/>
              <a:t>Akzent 2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-1902870" y="2833396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/>
              <a:t>Akzent 3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-1902870" y="3462139"/>
            <a:ext cx="899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/>
              <a:t>Akzent 4 / besuchter Hyperlink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-1902870" y="4081292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/>
              <a:t>Akzent 5</a:t>
            </a:r>
          </a:p>
        </p:txBody>
      </p:sp>
      <p:sp>
        <p:nvSpPr>
          <p:cNvPr id="69" name="Textfeld 68"/>
          <p:cNvSpPr txBox="1"/>
          <p:nvPr/>
        </p:nvSpPr>
        <p:spPr>
          <a:xfrm>
            <a:off x="-1902870" y="4716874"/>
            <a:ext cx="89959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500"/>
              <a:t>Akzent 6</a:t>
            </a:r>
          </a:p>
        </p:txBody>
      </p:sp>
      <p:sp>
        <p:nvSpPr>
          <p:cNvPr id="72" name="Datumsplatzhalter 1"/>
          <p:cNvSpPr>
            <a:spLocks noGrp="1"/>
          </p:cNvSpPr>
          <p:nvPr>
            <p:ph type="dt" sz="half" idx="2"/>
          </p:nvPr>
        </p:nvSpPr>
        <p:spPr>
          <a:xfrm>
            <a:off x="475655" y="4729006"/>
            <a:ext cx="566935" cy="2746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de-DE" sz="800" smtClean="0">
                <a:solidFill>
                  <a:srgbClr val="4C586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26"/>
            <a:r>
              <a:rPr lang="de-DE"/>
              <a:t>08.06.2015</a:t>
            </a:r>
          </a:p>
        </p:txBody>
      </p:sp>
      <p:sp>
        <p:nvSpPr>
          <p:cNvPr id="73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38882" y="4729006"/>
            <a:ext cx="2895600" cy="27463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de-DE" sz="8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226"/>
            <a:endParaRPr lang="de-DE"/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42E84C75-39DA-45C3-8B21-2C2A2FA71D72}"/>
              </a:ext>
            </a:extLst>
          </p:cNvPr>
          <p:cNvSpPr txBox="1"/>
          <p:nvPr userDrawn="1"/>
        </p:nvSpPr>
        <p:spPr bwMode="white">
          <a:xfrm>
            <a:off x="7380312" y="4768807"/>
            <a:ext cx="1512168" cy="17943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9142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800">
                <a:solidFill>
                  <a:schemeClr val="accent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eite </a:t>
            </a:r>
            <a:fld id="{A0607A0B-DD2B-40EB-9731-1AA75C8DC82B}" type="slidenum">
              <a:rPr lang="de-DE" sz="800" smtClean="0">
                <a:solidFill>
                  <a:schemeClr val="accent6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‹Nr.›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003D7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7390C4"/>
          </a:solidFill>
          <a:latin typeface="+mj-lt"/>
          <a:ea typeface="+mn-ea"/>
          <a:cs typeface="+mn-cs"/>
        </a:defRPr>
      </a:lvl1pPr>
      <a:lvl2pPr marL="4572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rgbClr val="7390C4"/>
          </a:solidFill>
          <a:latin typeface="+mj-lt"/>
          <a:ea typeface="+mn-ea"/>
          <a:cs typeface="+mn-cs"/>
        </a:defRPr>
      </a:lvl2pPr>
      <a:lvl3pPr marL="914400" indent="0" algn="l" defTabSz="914400" rtl="0" eaLnBrk="1" latinLnBrk="0" hangingPunct="1">
        <a:spcBef>
          <a:spcPct val="20000"/>
        </a:spcBef>
        <a:buFont typeface="Arial" pitchFamily="34" charset="0"/>
        <a:buNone/>
        <a:defRPr sz="1800" kern="1200">
          <a:solidFill>
            <a:srgbClr val="7390C4"/>
          </a:solidFill>
          <a:latin typeface="+mj-lt"/>
          <a:ea typeface="+mn-ea"/>
          <a:cs typeface="+mn-cs"/>
        </a:defRPr>
      </a:lvl3pPr>
      <a:lvl4pPr marL="137160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7390C4"/>
          </a:solidFill>
          <a:latin typeface="+mj-lt"/>
          <a:ea typeface="+mn-ea"/>
          <a:cs typeface="+mn-cs"/>
        </a:defRPr>
      </a:lvl4pPr>
      <a:lvl5pPr marL="182880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kern="1200">
          <a:solidFill>
            <a:srgbClr val="7390C4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18" Type="http://schemas.openxmlformats.org/officeDocument/2006/relationships/image" Target="../media/image22.png"/><Relationship Id="rId3" Type="http://schemas.openxmlformats.org/officeDocument/2006/relationships/image" Target="../media/image7.svg"/><Relationship Id="rId21" Type="http://schemas.openxmlformats.org/officeDocument/2006/relationships/image" Target="../media/image25.svg"/><Relationship Id="rId7" Type="http://schemas.openxmlformats.org/officeDocument/2006/relationships/image" Target="../media/image11.svg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5" Type="http://schemas.openxmlformats.org/officeDocument/2006/relationships/image" Target="../media/image29.svg"/><Relationship Id="rId2" Type="http://schemas.openxmlformats.org/officeDocument/2006/relationships/image" Target="../media/image6.png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24" Type="http://schemas.openxmlformats.org/officeDocument/2006/relationships/image" Target="../media/image28.png"/><Relationship Id="rId5" Type="http://schemas.openxmlformats.org/officeDocument/2006/relationships/image" Target="../media/image9.svg"/><Relationship Id="rId15" Type="http://schemas.openxmlformats.org/officeDocument/2006/relationships/image" Target="../media/image19.svg"/><Relationship Id="rId23" Type="http://schemas.openxmlformats.org/officeDocument/2006/relationships/image" Target="../media/image27.svg"/><Relationship Id="rId10" Type="http://schemas.openxmlformats.org/officeDocument/2006/relationships/image" Target="../media/image14.png"/><Relationship Id="rId19" Type="http://schemas.openxmlformats.org/officeDocument/2006/relationships/image" Target="../media/image23.svg"/><Relationship Id="rId4" Type="http://schemas.openxmlformats.org/officeDocument/2006/relationships/image" Target="../media/image8.png"/><Relationship Id="rId9" Type="http://schemas.openxmlformats.org/officeDocument/2006/relationships/image" Target="../media/image13.svg"/><Relationship Id="rId14" Type="http://schemas.openxmlformats.org/officeDocument/2006/relationships/image" Target="../media/image18.png"/><Relationship Id="rId22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alladio-consulting.de/" TargetMode="External"/><Relationship Id="rId2" Type="http://schemas.openxmlformats.org/officeDocument/2006/relationships/hyperlink" Target="mailto:c.schulz@palladio-consulting.de?subject=Scaling%20Agile:%20Lassen%20Sie%20uns%20&#252;ber%20meine%20Themen%20sprechen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08AEB11-62F8-D742-AF68-7B78618CF1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184" y="0"/>
            <a:ext cx="9144000" cy="5143500"/>
          </a:xfrm>
          <a:prstGeom prst="rect">
            <a:avLst/>
          </a:prstGeom>
        </p:spPr>
      </p:pic>
      <p:sp>
        <p:nvSpPr>
          <p:cNvPr id="12" name="Rechteck 1">
            <a:extLst>
              <a:ext uri="{FF2B5EF4-FFF2-40B4-BE49-F238E27FC236}">
                <a16:creationId xmlns:a16="http://schemas.microsoft.com/office/drawing/2014/main" id="{32EF9AB9-F3CC-6340-AFA5-FD80FF545825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 4">
            <a:extLst>
              <a:ext uri="{FF2B5EF4-FFF2-40B4-BE49-F238E27FC236}">
                <a16:creationId xmlns:a16="http://schemas.microsoft.com/office/drawing/2014/main" id="{A7BE49FE-EFD3-864D-8CE2-75132BE98557}"/>
              </a:ext>
            </a:extLst>
          </p:cNvPr>
          <p:cNvSpPr/>
          <p:nvPr/>
        </p:nvSpPr>
        <p:spPr>
          <a:xfrm>
            <a:off x="-5185" y="3336030"/>
            <a:ext cx="9144000" cy="1404344"/>
          </a:xfrm>
          <a:prstGeom prst="rect">
            <a:avLst/>
          </a:prstGeom>
          <a:solidFill>
            <a:srgbClr val="3F98A6">
              <a:alpha val="8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600" b="1" dirty="0"/>
          </a:p>
        </p:txBody>
      </p:sp>
      <p:pic>
        <p:nvPicPr>
          <p:cNvPr id="15" name="Grafik 6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0EEA0E8-2442-4648-BD4C-4664942A584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4438" y="75848"/>
            <a:ext cx="1695450" cy="579824"/>
          </a:xfrm>
          <a:prstGeom prst="rect">
            <a:avLst/>
          </a:prstGeom>
        </p:spPr>
      </p:pic>
      <p:sp>
        <p:nvSpPr>
          <p:cNvPr id="16" name="Textfeld 7">
            <a:extLst>
              <a:ext uri="{FF2B5EF4-FFF2-40B4-BE49-F238E27FC236}">
                <a16:creationId xmlns:a16="http://schemas.microsoft.com/office/drawing/2014/main" id="{B6283CED-F12B-D640-B69C-31DCB8F74681}"/>
              </a:ext>
            </a:extLst>
          </p:cNvPr>
          <p:cNvSpPr txBox="1"/>
          <p:nvPr/>
        </p:nvSpPr>
        <p:spPr>
          <a:xfrm>
            <a:off x="102319" y="3324602"/>
            <a:ext cx="8036495" cy="14157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de-DE" sz="3000" b="1" dirty="0">
                <a:solidFill>
                  <a:schemeClr val="bg1"/>
                </a:solidFill>
              </a:rPr>
              <a:t>Architekturprinzipien</a:t>
            </a:r>
          </a:p>
          <a:p>
            <a:pPr lvl="0"/>
            <a:r>
              <a:rPr lang="de-DE" sz="2000" b="1" dirty="0">
                <a:solidFill>
                  <a:schemeClr val="bg1"/>
                </a:solidFill>
              </a:rPr>
              <a:t>Vorlage: Enterprise Architecture Entscheidungen beschleunigen</a:t>
            </a:r>
          </a:p>
          <a:p>
            <a:pPr lvl="0"/>
            <a:endParaRPr lang="de-DE" sz="2000" b="1" dirty="0">
              <a:solidFill>
                <a:schemeClr val="bg1"/>
              </a:solidFill>
            </a:endParaRPr>
          </a:p>
          <a:p>
            <a:pPr lvl="0"/>
            <a:r>
              <a:rPr lang="de-DE" sz="1600" b="1" dirty="0">
                <a:solidFill>
                  <a:schemeClr val="bg1"/>
                </a:solidFill>
              </a:rPr>
              <a:t>Dr. Christopher Schulz</a:t>
            </a:r>
          </a:p>
        </p:txBody>
      </p:sp>
    </p:spTree>
    <p:extLst>
      <p:ext uri="{BB962C8B-B14F-4D97-AF65-F5344CB8AC3E}">
        <p14:creationId xmlns:p14="http://schemas.microsoft.com/office/powerpoint/2010/main" val="3209056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C5A50-1913-4507-988E-B3319E459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rchitekturprinzipien: Starter-S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0B0340-28DE-4C04-BA5A-1EB9C2F078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Good Practice </a:t>
            </a:r>
            <a:r>
              <a:rPr lang="de-DE" dirty="0"/>
              <a:t>Prinzipien als Entwicklungs- &amp; Diskussionsgrundla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3204FF-25E5-8047-AB49-2A45E24DC47C}"/>
              </a:ext>
            </a:extLst>
          </p:cNvPr>
          <p:cNvSpPr txBox="1"/>
          <p:nvPr/>
        </p:nvSpPr>
        <p:spPr>
          <a:xfrm>
            <a:off x="50460" y="1418318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Einfachheit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Wähle die einfachste Lösung und reduziere die Betriebskomplexität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E88982A-72CE-BF4B-9CD4-40ACE8E50CF2}"/>
              </a:ext>
            </a:extLst>
          </p:cNvPr>
          <p:cNvSpPr txBox="1"/>
          <p:nvPr/>
        </p:nvSpPr>
        <p:spPr>
          <a:xfrm>
            <a:off x="2306460" y="2787774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Gemanagte Daten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Erzeuge, modifiziere und nutze Daten konform der Data Governance Regeln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73D5436-ACFD-7340-A1D3-8DDD9F0DBD5C}"/>
              </a:ext>
            </a:extLst>
          </p:cNvPr>
          <p:cNvSpPr txBox="1"/>
          <p:nvPr/>
        </p:nvSpPr>
        <p:spPr>
          <a:xfrm>
            <a:off x="4562460" y="2787774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Gemanagte Sicherheit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Entwickle und betreibe Lösungen konform zu den Sicherheitsanforderungen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3846A96-6FAC-5844-82F3-FF76245E1BB0}"/>
              </a:ext>
            </a:extLst>
          </p:cNvPr>
          <p:cNvSpPr txBox="1"/>
          <p:nvPr/>
        </p:nvSpPr>
        <p:spPr>
          <a:xfrm>
            <a:off x="4394460" y="1418318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Gebrauchstauglichkeit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Entwickle zweckbezogene Lösungen und vermeide Over-Engineering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18B68BD-D407-2747-8E09-D97E1E2E8A24}"/>
              </a:ext>
            </a:extLst>
          </p:cNvPr>
          <p:cNvSpPr txBox="1"/>
          <p:nvPr/>
        </p:nvSpPr>
        <p:spPr>
          <a:xfrm>
            <a:off x="2138460" y="1418317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Innovation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Suche nach Wegen Technologie zum Vorteil von Business einzusetzen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EA1CD77-7B2B-EA45-AB72-E5F9122B9C9F}"/>
              </a:ext>
            </a:extLst>
          </p:cNvPr>
          <p:cNvSpPr txBox="1"/>
          <p:nvPr/>
        </p:nvSpPr>
        <p:spPr>
          <a:xfrm>
            <a:off x="50460" y="2787774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Compliance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Entwickle und betreibe Lösung konform zu Gesetzten und Vorschriften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DC12465-D239-974C-8798-265DB45FA660}"/>
              </a:ext>
            </a:extLst>
          </p:cNvPr>
          <p:cNvSpPr txBox="1"/>
          <p:nvPr/>
        </p:nvSpPr>
        <p:spPr>
          <a:xfrm>
            <a:off x="6818460" y="2787774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Kontrollierte IT-Diversität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Kontrolliere die Varietät genutzter Technologieplattformen und IT-Assets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0D7FF50-9140-9E42-8C49-5F91FA3EE959}"/>
              </a:ext>
            </a:extLst>
          </p:cNvPr>
          <p:cNvSpPr txBox="1"/>
          <p:nvPr/>
        </p:nvSpPr>
        <p:spPr>
          <a:xfrm>
            <a:off x="6818460" y="1418316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Kaufen vor Bauen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Favorisiere Kauflösungen vor selbst-entwickelten Lösungen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EAA5F4F-BC66-094E-8D36-69E105B9661F}"/>
              </a:ext>
            </a:extLst>
          </p:cNvPr>
          <p:cNvSpPr txBox="1"/>
          <p:nvPr/>
        </p:nvSpPr>
        <p:spPr>
          <a:xfrm>
            <a:off x="2217987" y="4157113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Nutzenfokus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Fokussiere auf langfristigen Nutzen bei Reduktion von Kosten und Risiken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8F991DF-6DAF-9842-9F55-E907E9FE2E28}"/>
              </a:ext>
            </a:extLst>
          </p:cNvPr>
          <p:cNvSpPr txBox="1"/>
          <p:nvPr/>
        </p:nvSpPr>
        <p:spPr>
          <a:xfrm>
            <a:off x="4469514" y="4157113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Kundenzentrierung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Erzeuge beim Kunden die mit Produkten &amp; Services verbundene beste Erfahrung.</a:t>
            </a:r>
          </a:p>
        </p:txBody>
      </p:sp>
      <p:pic>
        <p:nvPicPr>
          <p:cNvPr id="7" name="Graphic 6" descr="Lock">
            <a:extLst>
              <a:ext uri="{FF2B5EF4-FFF2-40B4-BE49-F238E27FC236}">
                <a16:creationId xmlns:a16="http://schemas.microsoft.com/office/drawing/2014/main" id="{0904A7D1-E1D6-4246-B898-B7C4D9195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47987" y="2237133"/>
            <a:ext cx="540000" cy="540000"/>
          </a:xfrm>
          <a:prstGeom prst="rect">
            <a:avLst/>
          </a:prstGeom>
        </p:spPr>
      </p:pic>
      <p:pic>
        <p:nvPicPr>
          <p:cNvPr id="9" name="Graphic 8" descr="Smiling face with no fill">
            <a:extLst>
              <a:ext uri="{FF2B5EF4-FFF2-40B4-BE49-F238E27FC236}">
                <a16:creationId xmlns:a16="http://schemas.microsoft.com/office/drawing/2014/main" id="{84613B90-2725-F548-8AD1-ED4E84586F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4460" y="873636"/>
            <a:ext cx="540000" cy="540000"/>
          </a:xfrm>
          <a:prstGeom prst="rect">
            <a:avLst/>
          </a:prstGeom>
        </p:spPr>
      </p:pic>
      <p:pic>
        <p:nvPicPr>
          <p:cNvPr id="11" name="Graphic 10" descr="Lightbulb and gear">
            <a:extLst>
              <a:ext uri="{FF2B5EF4-FFF2-40B4-BE49-F238E27FC236}">
                <a16:creationId xmlns:a16="http://schemas.microsoft.com/office/drawing/2014/main" id="{87DC838A-9860-5B4B-861D-AAB576ADCF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91987" y="873636"/>
            <a:ext cx="540000" cy="540000"/>
          </a:xfrm>
          <a:prstGeom prst="rect">
            <a:avLst/>
          </a:prstGeom>
        </p:spPr>
      </p:pic>
      <p:pic>
        <p:nvPicPr>
          <p:cNvPr id="14" name="Graphic 13" descr="Pocket knife">
            <a:extLst>
              <a:ext uri="{FF2B5EF4-FFF2-40B4-BE49-F238E27FC236}">
                <a16:creationId xmlns:a16="http://schemas.microsoft.com/office/drawing/2014/main" id="{85BDEA3D-E2B0-874B-9299-6400A7F5D4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243514" y="873636"/>
            <a:ext cx="540000" cy="540000"/>
          </a:xfrm>
          <a:prstGeom prst="rect">
            <a:avLst/>
          </a:prstGeom>
        </p:spPr>
      </p:pic>
      <p:pic>
        <p:nvPicPr>
          <p:cNvPr id="17" name="Graphic 16" descr="Money">
            <a:extLst>
              <a:ext uri="{FF2B5EF4-FFF2-40B4-BE49-F238E27FC236}">
                <a16:creationId xmlns:a16="http://schemas.microsoft.com/office/drawing/2014/main" id="{0B5E0F6D-8260-804A-B369-0346663761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92460" y="873636"/>
            <a:ext cx="540000" cy="540000"/>
          </a:xfrm>
          <a:prstGeom prst="rect">
            <a:avLst/>
          </a:prstGeom>
        </p:spPr>
      </p:pic>
      <p:pic>
        <p:nvPicPr>
          <p:cNvPr id="19" name="Graphic 18" descr="Court">
            <a:extLst>
              <a:ext uri="{FF2B5EF4-FFF2-40B4-BE49-F238E27FC236}">
                <a16:creationId xmlns:a16="http://schemas.microsoft.com/office/drawing/2014/main" id="{BC80BF6B-15DC-6042-A404-85E69718A62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24460" y="2237133"/>
            <a:ext cx="540000" cy="540000"/>
          </a:xfrm>
          <a:prstGeom prst="rect">
            <a:avLst/>
          </a:prstGeom>
        </p:spPr>
      </p:pic>
      <p:pic>
        <p:nvPicPr>
          <p:cNvPr id="22" name="Graphic 21" descr="Database">
            <a:extLst>
              <a:ext uri="{FF2B5EF4-FFF2-40B4-BE49-F238E27FC236}">
                <a16:creationId xmlns:a16="http://schemas.microsoft.com/office/drawing/2014/main" id="{1F7E6410-6B9D-8349-A22A-8A945EBFB30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996460" y="2237133"/>
            <a:ext cx="540000" cy="540000"/>
          </a:xfrm>
          <a:prstGeom prst="rect">
            <a:avLst/>
          </a:prstGeom>
        </p:spPr>
      </p:pic>
      <p:pic>
        <p:nvPicPr>
          <p:cNvPr id="24" name="Graphic 23" descr="Target Audience">
            <a:extLst>
              <a:ext uri="{FF2B5EF4-FFF2-40B4-BE49-F238E27FC236}">
                <a16:creationId xmlns:a16="http://schemas.microsoft.com/office/drawing/2014/main" id="{B9017C9B-BCAA-9A4A-8378-D4196FB80CF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247987" y="3658724"/>
            <a:ext cx="540000" cy="540000"/>
          </a:xfrm>
          <a:prstGeom prst="rect">
            <a:avLst/>
          </a:prstGeom>
        </p:spPr>
      </p:pic>
      <p:pic>
        <p:nvPicPr>
          <p:cNvPr id="26" name="Graphic 25" descr="Diamond">
            <a:extLst>
              <a:ext uri="{FF2B5EF4-FFF2-40B4-BE49-F238E27FC236}">
                <a16:creationId xmlns:a16="http://schemas.microsoft.com/office/drawing/2014/main" id="{6571680A-D1A5-EF4F-94F7-7A49D57C906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992800" y="3658724"/>
            <a:ext cx="540000" cy="540000"/>
          </a:xfrm>
          <a:prstGeom prst="rect">
            <a:avLst/>
          </a:prstGeom>
        </p:spPr>
      </p:pic>
      <p:pic>
        <p:nvPicPr>
          <p:cNvPr id="41" name="Graphic 40" descr="Transfer">
            <a:extLst>
              <a:ext uri="{FF2B5EF4-FFF2-40B4-BE49-F238E27FC236}">
                <a16:creationId xmlns:a16="http://schemas.microsoft.com/office/drawing/2014/main" id="{180199BF-5085-054D-A994-9D85B61B7AB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592460" y="2237133"/>
            <a:ext cx="540000" cy="540000"/>
          </a:xfrm>
          <a:prstGeom prst="rect">
            <a:avLst/>
          </a:prstGeom>
        </p:spPr>
      </p:pic>
      <p:sp>
        <p:nvSpPr>
          <p:cNvPr id="5" name="TextBox 35">
            <a:extLst>
              <a:ext uri="{FF2B5EF4-FFF2-40B4-BE49-F238E27FC236}">
                <a16:creationId xmlns:a16="http://schemas.microsoft.com/office/drawing/2014/main" id="{E570F15F-71A1-5F93-8A52-8FD37BA4D9FF}"/>
              </a:ext>
            </a:extLst>
          </p:cNvPr>
          <p:cNvSpPr txBox="1"/>
          <p:nvPr/>
        </p:nvSpPr>
        <p:spPr>
          <a:xfrm>
            <a:off x="46394" y="4157113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Internationalität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Bevorzuge weltweit einsetzbare Lösungen in Konfiguration &amp; Nutzung.</a:t>
            </a:r>
          </a:p>
        </p:txBody>
      </p:sp>
      <p:pic>
        <p:nvPicPr>
          <p:cNvPr id="10" name="Grafik 9" descr="Erdkugel: Afrika und Europa mit einfarbiger Füllung">
            <a:extLst>
              <a:ext uri="{FF2B5EF4-FFF2-40B4-BE49-F238E27FC236}">
                <a16:creationId xmlns:a16="http://schemas.microsoft.com/office/drawing/2014/main" id="{AEE87B6A-AE30-492D-3BE7-6078EE8A7E1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829130" y="3607863"/>
            <a:ext cx="540000" cy="540000"/>
          </a:xfrm>
          <a:prstGeom prst="rect">
            <a:avLst/>
          </a:prstGeom>
        </p:spPr>
      </p:pic>
      <p:sp>
        <p:nvSpPr>
          <p:cNvPr id="12" name="TextBox 39">
            <a:extLst>
              <a:ext uri="{FF2B5EF4-FFF2-40B4-BE49-F238E27FC236}">
                <a16:creationId xmlns:a16="http://schemas.microsoft.com/office/drawing/2014/main" id="{87098E81-E34E-6F11-1100-B8758CEED610}"/>
              </a:ext>
            </a:extLst>
          </p:cNvPr>
          <p:cNvSpPr txBox="1"/>
          <p:nvPr/>
        </p:nvSpPr>
        <p:spPr>
          <a:xfrm>
            <a:off x="6813987" y="4153602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Cloud-Präferenz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Präferiere Cloud gegenüber </a:t>
            </a:r>
            <a:br>
              <a:rPr lang="de-DE" sz="800" dirty="0">
                <a:solidFill>
                  <a:schemeClr val="accent6"/>
                </a:solidFill>
              </a:rPr>
            </a:br>
            <a:r>
              <a:rPr lang="de-DE" sz="800" dirty="0">
                <a:solidFill>
                  <a:schemeClr val="accent6"/>
                </a:solidFill>
              </a:rPr>
              <a:t>On-</a:t>
            </a:r>
            <a:r>
              <a:rPr lang="de-DE" sz="800" dirty="0" err="1">
                <a:solidFill>
                  <a:schemeClr val="accent6"/>
                </a:solidFill>
              </a:rPr>
              <a:t>Premise</a:t>
            </a:r>
            <a:r>
              <a:rPr lang="de-DE" sz="800" dirty="0">
                <a:solidFill>
                  <a:schemeClr val="accent6"/>
                </a:solidFill>
              </a:rPr>
              <a:t> Lösungen.</a:t>
            </a:r>
          </a:p>
        </p:txBody>
      </p:sp>
      <p:pic>
        <p:nvPicPr>
          <p:cNvPr id="16" name="Grafik 15" descr="Aus der Cloud herunterladen mit einfarbiger Füllung">
            <a:extLst>
              <a:ext uri="{FF2B5EF4-FFF2-40B4-BE49-F238E27FC236}">
                <a16:creationId xmlns:a16="http://schemas.microsoft.com/office/drawing/2014/main" id="{DEA7D15F-26C9-2696-1F5F-3311D75396C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592460" y="3658724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61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C5A50-1913-4507-988E-B3319E459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Architekturprinzipien: Starter-Se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0B0340-28DE-4C04-BA5A-1EB9C2F078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Good Practice </a:t>
            </a:r>
            <a:r>
              <a:rPr lang="de-DE" dirty="0"/>
              <a:t>Prinzipien als Entwicklungs- &amp; Diskussionsgrundla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3204FF-25E5-8047-AB49-2A45E24DC47C}"/>
              </a:ext>
            </a:extLst>
          </p:cNvPr>
          <p:cNvSpPr txBox="1"/>
          <p:nvPr/>
        </p:nvSpPr>
        <p:spPr>
          <a:xfrm>
            <a:off x="50460" y="1418318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Minimalität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Stelle pro fachlichen Anwendungsfall möglichst nur ein Tool zur Verfügung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3846A96-6FAC-5844-82F3-FF76245E1BB0}"/>
              </a:ext>
            </a:extLst>
          </p:cNvPr>
          <p:cNvSpPr txBox="1"/>
          <p:nvPr/>
        </p:nvSpPr>
        <p:spPr>
          <a:xfrm>
            <a:off x="4394460" y="1418318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Langlebigkeit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Wähle Technologien mit definierten SLAs, klarem Support u. spezifischer Roadmap.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18B68BD-D407-2747-8E09-D97E1E2E8A24}"/>
              </a:ext>
            </a:extLst>
          </p:cNvPr>
          <p:cNvSpPr txBox="1"/>
          <p:nvPr/>
        </p:nvSpPr>
        <p:spPr>
          <a:xfrm>
            <a:off x="2138460" y="1418317"/>
            <a:ext cx="2160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Nachhaltigkeit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Wähle Technologien mit geringen Hardware- und Energieverbrauch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0D7FF50-9140-9E42-8C49-5F91FA3EE959}"/>
              </a:ext>
            </a:extLst>
          </p:cNvPr>
          <p:cNvSpPr txBox="1"/>
          <p:nvPr/>
        </p:nvSpPr>
        <p:spPr>
          <a:xfrm>
            <a:off x="6818460" y="1418316"/>
            <a:ext cx="20880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de-DE" sz="1050" b="1" dirty="0">
                <a:solidFill>
                  <a:schemeClr val="accent6"/>
                </a:solidFill>
              </a:rPr>
              <a:t>Flexibilität</a:t>
            </a:r>
          </a:p>
          <a:p>
            <a:pPr algn="ctr"/>
            <a:r>
              <a:rPr lang="de-DE" sz="800" dirty="0">
                <a:solidFill>
                  <a:schemeClr val="accent6"/>
                </a:solidFill>
              </a:rPr>
              <a:t>Präferiere erweiterbare, elastische und änderbare Lösungen.</a:t>
            </a:r>
          </a:p>
        </p:txBody>
      </p:sp>
      <p:pic>
        <p:nvPicPr>
          <p:cNvPr id="8" name="Grafik 7" descr="Minimieren mit einfarbiger Füllung">
            <a:extLst>
              <a:ext uri="{FF2B5EF4-FFF2-40B4-BE49-F238E27FC236}">
                <a16:creationId xmlns:a16="http://schemas.microsoft.com/office/drawing/2014/main" id="{F5C7EB5F-857D-D766-D3AF-27ECED9670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1460" y="886212"/>
            <a:ext cx="540000" cy="540000"/>
          </a:xfrm>
          <a:prstGeom prst="rect">
            <a:avLst/>
          </a:prstGeom>
        </p:spPr>
      </p:pic>
      <p:pic>
        <p:nvPicPr>
          <p:cNvPr id="15" name="Grafik 14" descr="Kontinuierliche Verbesserung mit einfarbiger Füllung">
            <a:extLst>
              <a:ext uri="{FF2B5EF4-FFF2-40B4-BE49-F238E27FC236}">
                <a16:creationId xmlns:a16="http://schemas.microsoft.com/office/drawing/2014/main" id="{C0F9681D-EF91-CA2E-B742-672F6E7580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62460" y="886212"/>
            <a:ext cx="540000" cy="540000"/>
          </a:xfrm>
          <a:prstGeom prst="rect">
            <a:avLst/>
          </a:prstGeom>
        </p:spPr>
      </p:pic>
      <p:pic>
        <p:nvPicPr>
          <p:cNvPr id="20" name="Grafik 19" descr="Erneuerbare Energien mit einfarbiger Füllung">
            <a:extLst>
              <a:ext uri="{FF2B5EF4-FFF2-40B4-BE49-F238E27FC236}">
                <a16:creationId xmlns:a16="http://schemas.microsoft.com/office/drawing/2014/main" id="{E868542C-3FD3-A469-B059-9A6BCE725A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02460" y="886212"/>
            <a:ext cx="540000" cy="540000"/>
          </a:xfrm>
          <a:prstGeom prst="rect">
            <a:avLst/>
          </a:prstGeom>
        </p:spPr>
      </p:pic>
      <p:pic>
        <p:nvPicPr>
          <p:cNvPr id="23" name="Grafik 22" descr="Puzzleteile mit einfarbiger Füllung">
            <a:extLst>
              <a:ext uri="{FF2B5EF4-FFF2-40B4-BE49-F238E27FC236}">
                <a16:creationId xmlns:a16="http://schemas.microsoft.com/office/drawing/2014/main" id="{D77E6534-D00D-38A2-BA84-4472EDA8D6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62540" y="886212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50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C5A50-1913-4507-988E-B3319E459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Name: </a:t>
            </a:r>
            <a:r>
              <a:rPr lang="de-DE" i="1" dirty="0"/>
              <a:t>Was ist die Essenz des Prinzips in einer Wortgruppe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0B0340-28DE-4C04-BA5A-1EB9C2F078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Identifier		 | Kategorie		 | Ansprechpartn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C15352-31AB-464F-916C-0054F195DB7E}"/>
              </a:ext>
            </a:extLst>
          </p:cNvPr>
          <p:cNvSpPr/>
          <p:nvPr/>
        </p:nvSpPr>
        <p:spPr>
          <a:xfrm>
            <a:off x="466724" y="843558"/>
            <a:ext cx="684000" cy="612000"/>
          </a:xfrm>
          <a:prstGeom prst="rect">
            <a:avLst/>
          </a:prstGeom>
          <a:solidFill>
            <a:srgbClr val="3F98A6"/>
          </a:solidFill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Erklär-u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57E97CE-9882-0E42-B677-2A932A8442BE}"/>
              </a:ext>
            </a:extLst>
          </p:cNvPr>
          <p:cNvSpPr/>
          <p:nvPr/>
        </p:nvSpPr>
        <p:spPr>
          <a:xfrm>
            <a:off x="1189276" y="843558"/>
            <a:ext cx="7488000" cy="612000"/>
          </a:xfrm>
          <a:prstGeom prst="rect">
            <a:avLst/>
          </a:prstGeom>
          <a:noFill/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Wingdings" pitchFamily="2" charset="2"/>
              <a:buChar char="§"/>
            </a:pPr>
            <a:r>
              <a:rPr lang="de-DE" sz="1200" i="1" dirty="0">
                <a:solidFill>
                  <a:schemeClr val="accent6"/>
                </a:solidFill>
              </a:rPr>
              <a:t>Worin besteht die Handlungsleitung des Prinzips?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i="1" dirty="0">
                <a:solidFill>
                  <a:schemeClr val="accent6"/>
                </a:solidFill>
              </a:rPr>
              <a:t>In welcher Situation kommt es zum Einsatz?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i="1" dirty="0">
                <a:solidFill>
                  <a:schemeClr val="accent6"/>
                </a:solidFill>
              </a:rPr>
              <a:t>…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i="1" dirty="0">
              <a:solidFill>
                <a:schemeClr val="accent6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5F288DA-886A-834A-A94D-34B273EB7C4A}"/>
              </a:ext>
            </a:extLst>
          </p:cNvPr>
          <p:cNvSpPr/>
          <p:nvPr/>
        </p:nvSpPr>
        <p:spPr>
          <a:xfrm>
            <a:off x="466724" y="1532162"/>
            <a:ext cx="4068000" cy="252000"/>
          </a:xfrm>
          <a:prstGeom prst="rect">
            <a:avLst/>
          </a:prstGeom>
          <a:solidFill>
            <a:srgbClr val="3F98A6"/>
          </a:solidFill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Begründun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E78AAC0-FF1B-F443-B01A-6770FA5FE78E}"/>
              </a:ext>
            </a:extLst>
          </p:cNvPr>
          <p:cNvSpPr/>
          <p:nvPr/>
        </p:nvSpPr>
        <p:spPr>
          <a:xfrm>
            <a:off x="4609278" y="1532162"/>
            <a:ext cx="4068000" cy="252000"/>
          </a:xfrm>
          <a:prstGeom prst="rect">
            <a:avLst/>
          </a:prstGeom>
          <a:solidFill>
            <a:srgbClr val="3F98A6"/>
          </a:solidFill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Auswirkunge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02E0D0A-FE6D-7C41-B613-24BD4726EB8E}"/>
              </a:ext>
            </a:extLst>
          </p:cNvPr>
          <p:cNvSpPr/>
          <p:nvPr/>
        </p:nvSpPr>
        <p:spPr>
          <a:xfrm>
            <a:off x="466724" y="1829654"/>
            <a:ext cx="4068000" cy="2758319"/>
          </a:xfrm>
          <a:prstGeom prst="rect">
            <a:avLst/>
          </a:prstGeom>
          <a:noFill/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Wingdings" pitchFamily="2" charset="2"/>
              <a:buChar char="§"/>
            </a:pPr>
            <a:r>
              <a:rPr lang="de-DE" sz="1200" i="1" dirty="0">
                <a:solidFill>
                  <a:schemeClr val="accent6"/>
                </a:solidFill>
              </a:rPr>
              <a:t>Weshalb gibt es dieses Architekturprinzip?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i="1" dirty="0">
                <a:solidFill>
                  <a:schemeClr val="accent6"/>
                </a:solidFill>
              </a:rPr>
              <a:t>Worin besteht der Mehrwert bei seiner Einhaltung?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i="1" dirty="0">
                <a:solidFill>
                  <a:schemeClr val="accent6"/>
                </a:solidFill>
              </a:rPr>
              <a:t>…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4A57B99-E4AA-1243-916C-855B308F9375}"/>
              </a:ext>
            </a:extLst>
          </p:cNvPr>
          <p:cNvSpPr/>
          <p:nvPr/>
        </p:nvSpPr>
        <p:spPr>
          <a:xfrm>
            <a:off x="4609276" y="1830739"/>
            <a:ext cx="4068000" cy="2758319"/>
          </a:xfrm>
          <a:prstGeom prst="rect">
            <a:avLst/>
          </a:prstGeom>
          <a:noFill/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Wingdings" pitchFamily="2" charset="2"/>
              <a:buChar char="§"/>
            </a:pPr>
            <a:r>
              <a:rPr lang="de-DE" sz="1200" i="1" dirty="0">
                <a:solidFill>
                  <a:schemeClr val="accent6"/>
                </a:solidFill>
              </a:rPr>
              <a:t>Was bedeutet das Architekturprinzip in der Praxis?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i="1" dirty="0">
                <a:solidFill>
                  <a:schemeClr val="accent6"/>
                </a:solidFill>
              </a:rPr>
              <a:t>Welche Anforderungen stellen sich an Business &amp; IT?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i="1" dirty="0">
                <a:solidFill>
                  <a:schemeClr val="accent6"/>
                </a:solidFill>
              </a:rPr>
              <a:t>…</a:t>
            </a:r>
          </a:p>
        </p:txBody>
      </p:sp>
      <p:pic>
        <p:nvPicPr>
          <p:cNvPr id="6" name="Graphic 5" descr="Subtitles RTL">
            <a:extLst>
              <a:ext uri="{FF2B5EF4-FFF2-40B4-BE49-F238E27FC236}">
                <a16:creationId xmlns:a16="http://schemas.microsoft.com/office/drawing/2014/main" id="{EB2D3B14-7130-6047-B42B-0675959EF0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40748" y="871229"/>
            <a:ext cx="360000" cy="360000"/>
          </a:xfrm>
          <a:prstGeom prst="rect">
            <a:avLst/>
          </a:prstGeom>
        </p:spPr>
      </p:pic>
      <p:pic>
        <p:nvPicPr>
          <p:cNvPr id="8" name="Graphic 7" descr="Compass">
            <a:extLst>
              <a:ext uri="{FF2B5EF4-FFF2-40B4-BE49-F238E27FC236}">
                <a16:creationId xmlns:a16="http://schemas.microsoft.com/office/drawing/2014/main" id="{CADF6F7B-87FB-B845-9592-51C38AD7FF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40748" y="4193038"/>
            <a:ext cx="360000" cy="360000"/>
          </a:xfrm>
          <a:prstGeom prst="rect">
            <a:avLst/>
          </a:prstGeom>
        </p:spPr>
      </p:pic>
      <p:pic>
        <p:nvPicPr>
          <p:cNvPr id="10" name="Graphic 9" descr="Scales of justice">
            <a:extLst>
              <a:ext uri="{FF2B5EF4-FFF2-40B4-BE49-F238E27FC236}">
                <a16:creationId xmlns:a16="http://schemas.microsoft.com/office/drawing/2014/main" id="{0105716E-C445-3B40-B8BA-FDF525C782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67944" y="415596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066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8C5A50-1913-4507-988E-B3319E459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eispiel: Langlebigkeit neuer IT-System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F0B0340-28DE-4C04-BA5A-1EB9C2F078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Autofit/>
          </a:bodyPr>
          <a:lstStyle/>
          <a:p>
            <a:r>
              <a:rPr lang="de-DE" dirty="0"/>
              <a:t>ID: 01 | Kategorie: </a:t>
            </a:r>
            <a:r>
              <a:rPr lang="de-DE" dirty="0" err="1"/>
              <a:t>Application</a:t>
            </a:r>
            <a:r>
              <a:rPr lang="de-DE" dirty="0"/>
              <a:t> Architecture | Kontakt: Daniela Schmidt (SF-O2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C15352-31AB-464F-916C-0054F195DB7E}"/>
              </a:ext>
            </a:extLst>
          </p:cNvPr>
          <p:cNvSpPr/>
          <p:nvPr/>
        </p:nvSpPr>
        <p:spPr>
          <a:xfrm>
            <a:off x="466724" y="843558"/>
            <a:ext cx="684000" cy="612000"/>
          </a:xfrm>
          <a:prstGeom prst="rect">
            <a:avLst/>
          </a:prstGeom>
          <a:solidFill>
            <a:srgbClr val="3F98A6"/>
          </a:solidFill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Erklär-ung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57E97CE-9882-0E42-B677-2A932A8442BE}"/>
              </a:ext>
            </a:extLst>
          </p:cNvPr>
          <p:cNvSpPr/>
          <p:nvPr/>
        </p:nvSpPr>
        <p:spPr>
          <a:xfrm>
            <a:off x="1189276" y="843558"/>
            <a:ext cx="7488000" cy="612000"/>
          </a:xfrm>
          <a:prstGeom prst="rect">
            <a:avLst/>
          </a:prstGeom>
          <a:noFill/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accent6"/>
                </a:solidFill>
              </a:rPr>
              <a:t>„Wähle und entwickle neue IT-Systeme, so dass diese in einem Zeitraum von mind. 10 Jahren </a:t>
            </a:r>
            <a:br>
              <a:rPr lang="de-DE" sz="1200" dirty="0">
                <a:solidFill>
                  <a:schemeClr val="accent6"/>
                </a:solidFill>
              </a:rPr>
            </a:br>
            <a:r>
              <a:rPr lang="de-DE" sz="1200" dirty="0">
                <a:solidFill>
                  <a:schemeClr val="accent6"/>
                </a:solidFill>
              </a:rPr>
              <a:t>durch die Fachbereiche genutzt werden können.“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5F288DA-886A-834A-A94D-34B273EB7C4A}"/>
              </a:ext>
            </a:extLst>
          </p:cNvPr>
          <p:cNvSpPr/>
          <p:nvPr/>
        </p:nvSpPr>
        <p:spPr>
          <a:xfrm>
            <a:off x="466724" y="1532162"/>
            <a:ext cx="4068000" cy="252000"/>
          </a:xfrm>
          <a:prstGeom prst="rect">
            <a:avLst/>
          </a:prstGeom>
          <a:solidFill>
            <a:srgbClr val="3F98A6"/>
          </a:solidFill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Begründun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E78AAC0-FF1B-F443-B01A-6770FA5FE78E}"/>
              </a:ext>
            </a:extLst>
          </p:cNvPr>
          <p:cNvSpPr/>
          <p:nvPr/>
        </p:nvSpPr>
        <p:spPr>
          <a:xfrm>
            <a:off x="4609278" y="1532162"/>
            <a:ext cx="4068000" cy="252000"/>
          </a:xfrm>
          <a:prstGeom prst="rect">
            <a:avLst/>
          </a:prstGeom>
          <a:solidFill>
            <a:srgbClr val="3F98A6"/>
          </a:solidFill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Auswirkunge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02E0D0A-FE6D-7C41-B613-24BD4726EB8E}"/>
              </a:ext>
            </a:extLst>
          </p:cNvPr>
          <p:cNvSpPr/>
          <p:nvPr/>
        </p:nvSpPr>
        <p:spPr>
          <a:xfrm>
            <a:off x="466724" y="1829654"/>
            <a:ext cx="4068000" cy="2758319"/>
          </a:xfrm>
          <a:prstGeom prst="rect">
            <a:avLst/>
          </a:prstGeom>
          <a:noFill/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Wingdings" pitchFamily="2" charset="2"/>
              <a:buChar char="§"/>
            </a:pPr>
            <a:r>
              <a:rPr lang="de-DE" sz="1200" dirty="0">
                <a:solidFill>
                  <a:schemeClr val="accent6"/>
                </a:solidFill>
              </a:rPr>
              <a:t>Führung: Unternehmensleitung denkt in Jahrzehnten und Generationen, nicht Quartalen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dirty="0">
                <a:solidFill>
                  <a:schemeClr val="accent6"/>
                </a:solidFill>
              </a:rPr>
              <a:t>Business: häufiger Wechsel verärgert Fachbereiche, die ein IT-System als Werkzeug betrachten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dirty="0">
                <a:solidFill>
                  <a:schemeClr val="accent6"/>
                </a:solidFill>
              </a:rPr>
              <a:t>IT: Auswahl, Entwicklung, Anpassung und Einführung neuer IT-Systemen sind zeit- und kostenintensiv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4A57B99-E4AA-1243-916C-855B308F9375}"/>
              </a:ext>
            </a:extLst>
          </p:cNvPr>
          <p:cNvSpPr/>
          <p:nvPr/>
        </p:nvSpPr>
        <p:spPr>
          <a:xfrm>
            <a:off x="4609276" y="1830739"/>
            <a:ext cx="4068000" cy="2758319"/>
          </a:xfrm>
          <a:prstGeom prst="rect">
            <a:avLst/>
          </a:prstGeom>
          <a:noFill/>
          <a:ln w="9525">
            <a:solidFill>
              <a:srgbClr val="3F98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200" dirty="0">
                <a:solidFill>
                  <a:schemeClr val="accent6"/>
                </a:solidFill>
              </a:rPr>
              <a:t>IT-System verfügt über…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dirty="0">
                <a:solidFill>
                  <a:schemeClr val="accent6"/>
                </a:solidFill>
              </a:rPr>
              <a:t>modulare und anpassbare Struktur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dirty="0">
                <a:solidFill>
                  <a:schemeClr val="accent6"/>
                </a:solidFill>
              </a:rPr>
              <a:t>eine Roadmap zur Weiterentwicklung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dirty="0">
                <a:solidFill>
                  <a:schemeClr val="accent6"/>
                </a:solidFill>
              </a:rPr>
              <a:t>formulierte Service Level Agreements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dirty="0">
                <a:solidFill>
                  <a:schemeClr val="accent6"/>
                </a:solidFill>
              </a:rPr>
              <a:t>einen definierten Betrieb mit Wartung und Support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de-DE" sz="1200" dirty="0">
                <a:solidFill>
                  <a:schemeClr val="accent6"/>
                </a:solidFill>
              </a:rPr>
              <a:t>dokumentierte Funktionen und Schnittstellen</a:t>
            </a: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endParaRPr lang="de-DE" sz="1200" dirty="0">
              <a:solidFill>
                <a:schemeClr val="accent6"/>
              </a:solidFill>
            </a:endParaRPr>
          </a:p>
        </p:txBody>
      </p:sp>
      <p:pic>
        <p:nvPicPr>
          <p:cNvPr id="6" name="Graphic 5" descr="Subtitles RTL">
            <a:extLst>
              <a:ext uri="{FF2B5EF4-FFF2-40B4-BE49-F238E27FC236}">
                <a16:creationId xmlns:a16="http://schemas.microsoft.com/office/drawing/2014/main" id="{EB2D3B14-7130-6047-B42B-0675959EF0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40748" y="871229"/>
            <a:ext cx="360000" cy="360000"/>
          </a:xfrm>
          <a:prstGeom prst="rect">
            <a:avLst/>
          </a:prstGeom>
        </p:spPr>
      </p:pic>
      <p:pic>
        <p:nvPicPr>
          <p:cNvPr id="8" name="Graphic 7" descr="Compass">
            <a:extLst>
              <a:ext uri="{FF2B5EF4-FFF2-40B4-BE49-F238E27FC236}">
                <a16:creationId xmlns:a16="http://schemas.microsoft.com/office/drawing/2014/main" id="{CADF6F7B-87FB-B845-9592-51C38AD7FF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40748" y="4193038"/>
            <a:ext cx="360000" cy="360000"/>
          </a:xfrm>
          <a:prstGeom prst="rect">
            <a:avLst/>
          </a:prstGeom>
        </p:spPr>
      </p:pic>
      <p:pic>
        <p:nvPicPr>
          <p:cNvPr id="10" name="Graphic 9" descr="Scales of justice">
            <a:extLst>
              <a:ext uri="{FF2B5EF4-FFF2-40B4-BE49-F238E27FC236}">
                <a16:creationId xmlns:a16="http://schemas.microsoft.com/office/drawing/2014/main" id="{0105716E-C445-3B40-B8BA-FDF525C782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67944" y="415596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5105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02977-80CB-8D49-9114-5E34A0AD02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ie können wir Ihnen helfen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7F89C0-AD47-2F41-ADB5-148CE4D47C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Sprechen Sie mit uns über Ihre Themen!</a:t>
            </a:r>
          </a:p>
        </p:txBody>
      </p:sp>
      <p:sp>
        <p:nvSpPr>
          <p:cNvPr id="9" name="Textfeld 7">
            <a:extLst>
              <a:ext uri="{FF2B5EF4-FFF2-40B4-BE49-F238E27FC236}">
                <a16:creationId xmlns:a16="http://schemas.microsoft.com/office/drawing/2014/main" id="{CF9ADDBA-443B-204E-B32A-778FA29DB81E}"/>
              </a:ext>
            </a:extLst>
          </p:cNvPr>
          <p:cNvSpPr txBox="1"/>
          <p:nvPr/>
        </p:nvSpPr>
        <p:spPr>
          <a:xfrm>
            <a:off x="457201" y="2582265"/>
            <a:ext cx="3486852" cy="19620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350" b="1" dirty="0">
                <a:solidFill>
                  <a:schemeClr val="accent6"/>
                </a:solidFill>
              </a:rPr>
              <a:t>Dr. Christopher Schulz</a:t>
            </a:r>
          </a:p>
          <a:p>
            <a:r>
              <a:rPr lang="de-DE" sz="1350" dirty="0">
                <a:solidFill>
                  <a:schemeClr val="accent6"/>
                </a:solidFill>
              </a:rPr>
              <a:t>Managing Director</a:t>
            </a:r>
          </a:p>
          <a:p>
            <a:endParaRPr lang="de-DE" sz="1350" dirty="0">
              <a:solidFill>
                <a:schemeClr val="accent6"/>
              </a:solidFill>
            </a:endParaRPr>
          </a:p>
          <a:p>
            <a:endParaRPr lang="de-DE" sz="1350" dirty="0">
              <a:solidFill>
                <a:schemeClr val="accent6"/>
              </a:solidFill>
            </a:endParaRPr>
          </a:p>
          <a:p>
            <a:endParaRPr lang="de-DE" sz="1350" dirty="0">
              <a:solidFill>
                <a:schemeClr val="accent6"/>
              </a:solidFill>
            </a:endParaRPr>
          </a:p>
          <a:p>
            <a:r>
              <a:rPr lang="de-DE" sz="1350" dirty="0">
                <a:solidFill>
                  <a:schemeClr val="accent6"/>
                </a:solidFill>
              </a:rPr>
              <a:t>Palladio Consulting GmbH &amp; Co. KG</a:t>
            </a:r>
          </a:p>
          <a:p>
            <a:r>
              <a:rPr lang="en-US" sz="1350" dirty="0">
                <a:solidFill>
                  <a:schemeClr val="accent6"/>
                </a:solidFill>
              </a:rPr>
              <a:t>Mobil:      +49 (0)176 </a:t>
            </a:r>
            <a:r>
              <a:rPr lang="de-DE" sz="1350" dirty="0">
                <a:solidFill>
                  <a:schemeClr val="accent6"/>
                </a:solidFill>
              </a:rPr>
              <a:t>493 47889</a:t>
            </a:r>
          </a:p>
          <a:p>
            <a:r>
              <a:rPr lang="de-DE" sz="1350" dirty="0">
                <a:solidFill>
                  <a:schemeClr val="accent6"/>
                </a:solidFill>
              </a:rPr>
              <a:t>E-Mail:     </a:t>
            </a:r>
            <a:r>
              <a:rPr lang="de-DE" sz="1350" dirty="0">
                <a:solidFill>
                  <a:schemeClr val="accent6"/>
                </a:solidFill>
                <a:hlinkClick r:id="rId2"/>
              </a:rPr>
              <a:t>c.schulz@palladio-consulting.de </a:t>
            </a:r>
            <a:endParaRPr lang="de-DE" sz="1350" dirty="0">
              <a:solidFill>
                <a:schemeClr val="accent6"/>
              </a:solidFill>
            </a:endParaRPr>
          </a:p>
          <a:p>
            <a:r>
              <a:rPr lang="de-DE" sz="1350" dirty="0">
                <a:solidFill>
                  <a:schemeClr val="accent6"/>
                </a:solidFill>
              </a:rPr>
              <a:t>Web:        </a:t>
            </a:r>
            <a:r>
              <a:rPr lang="de-DE" sz="1350" dirty="0">
                <a:solidFill>
                  <a:schemeClr val="accent6"/>
                </a:solidFill>
                <a:hlinkClick r:id="rId3"/>
              </a:rPr>
              <a:t>www.palladio-consulting.de</a:t>
            </a:r>
            <a:endParaRPr lang="de-DE" sz="1350" dirty="0">
              <a:solidFill>
                <a:schemeClr val="accent6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74B8FD3-DE57-F04F-8CE3-DD4FB0B74771}"/>
              </a:ext>
            </a:extLst>
          </p:cNvPr>
          <p:cNvSpPr/>
          <p:nvPr/>
        </p:nvSpPr>
        <p:spPr>
          <a:xfrm>
            <a:off x="3347864" y="1099915"/>
            <a:ext cx="5544615" cy="196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 typeface="Wingdings" panose="05000000000000000000" pitchFamily="2" charset="2"/>
              <a:buChar char="Ø"/>
            </a:pPr>
            <a:r>
              <a:rPr lang="de-DE" sz="1350" b="1" dirty="0">
                <a:solidFill>
                  <a:schemeClr val="accent6"/>
                </a:solidFill>
              </a:rPr>
              <a:t>Sie möchten Architekturprinzipien zur Governance einsetzen?</a:t>
            </a:r>
            <a:br>
              <a:rPr lang="de-DE" sz="1350" b="1" dirty="0">
                <a:solidFill>
                  <a:schemeClr val="accent6"/>
                </a:solidFill>
              </a:rPr>
            </a:br>
            <a:r>
              <a:rPr lang="de-DE" sz="1350" dirty="0">
                <a:solidFill>
                  <a:schemeClr val="accent6"/>
                </a:solidFill>
              </a:rPr>
              <a:t>Gerne beraten wir bei der Initiierung, Vorgehen &amp; Kommunikation.</a:t>
            </a:r>
            <a:br>
              <a:rPr lang="de-DE" sz="1350" dirty="0">
                <a:solidFill>
                  <a:schemeClr val="accent6"/>
                </a:solidFill>
              </a:rPr>
            </a:br>
            <a:endParaRPr lang="de-DE" sz="1350" dirty="0">
              <a:solidFill>
                <a:schemeClr val="accent6"/>
              </a:solidFill>
            </a:endParaRP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de-DE" sz="1350" b="1" dirty="0">
                <a:solidFill>
                  <a:schemeClr val="accent6"/>
                </a:solidFill>
              </a:rPr>
              <a:t>Sie möchten bestehende Prinzipien auf den Prüfstand stellen?</a:t>
            </a:r>
            <a:br>
              <a:rPr lang="de-DE" sz="1350" dirty="0">
                <a:solidFill>
                  <a:schemeClr val="accent6"/>
                </a:solidFill>
              </a:rPr>
            </a:br>
            <a:r>
              <a:rPr lang="de-DE" sz="1350" dirty="0">
                <a:solidFill>
                  <a:schemeClr val="accent6"/>
                </a:solidFill>
              </a:rPr>
              <a:t>Auf Basis Ihrer Anforderungen und Randbedingungen fertigen wir ein Review Ihrer Architekturprinzipien an.</a:t>
            </a:r>
            <a:br>
              <a:rPr lang="de-DE" sz="1350" dirty="0">
                <a:solidFill>
                  <a:schemeClr val="accent6"/>
                </a:solidFill>
              </a:rPr>
            </a:br>
            <a:endParaRPr lang="de-DE" sz="1350" dirty="0">
              <a:solidFill>
                <a:schemeClr val="accent6"/>
              </a:solidFill>
            </a:endParaRP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de-DE" sz="1350" b="1" dirty="0">
                <a:solidFill>
                  <a:schemeClr val="accent6"/>
                </a:solidFill>
              </a:rPr>
              <a:t>Sie benötigen Manpower und Fachwissen im Projekt?</a:t>
            </a:r>
            <a:br>
              <a:rPr lang="de-DE" sz="1350" dirty="0">
                <a:solidFill>
                  <a:schemeClr val="accent6"/>
                </a:solidFill>
              </a:rPr>
            </a:br>
            <a:r>
              <a:rPr lang="de-DE" sz="1350" dirty="0">
                <a:solidFill>
                  <a:schemeClr val="accent6"/>
                </a:solidFill>
              </a:rPr>
              <a:t>Wir freuen uns darauf, Ihr Vorhaben zum Erfolg zu bringen.</a:t>
            </a:r>
          </a:p>
        </p:txBody>
      </p:sp>
      <p:pic>
        <p:nvPicPr>
          <p:cNvPr id="7" name="Grafik 16">
            <a:extLst>
              <a:ext uri="{FF2B5EF4-FFF2-40B4-BE49-F238E27FC236}">
                <a16:creationId xmlns:a16="http://schemas.microsoft.com/office/drawing/2014/main" id="{301A4DA2-27BA-694C-B28B-1E2FD338D7BA}"/>
              </a:ext>
            </a:extLst>
          </p:cNvPr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39552" y="1043606"/>
            <a:ext cx="1440000" cy="134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5199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yrum7ZE.QWsxDKTv5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WwXWUbtEiSLyJ9yHY.pA"/>
</p:tagLst>
</file>

<file path=ppt/theme/theme1.xml><?xml version="1.0" encoding="utf-8"?>
<a:theme xmlns:a="http://schemas.openxmlformats.org/drawingml/2006/main" name="20150716_mosaiic_ppt_vorlage_16-9">
  <a:themeElements>
    <a:clrScheme name="mosaiic">
      <a:dk1>
        <a:srgbClr val="0F3F93"/>
      </a:dk1>
      <a:lt1>
        <a:sysClr val="window" lastClr="FFFFFF"/>
      </a:lt1>
      <a:dk2>
        <a:srgbClr val="7390C4"/>
      </a:dk2>
      <a:lt2>
        <a:srgbClr val="CECECE"/>
      </a:lt2>
      <a:accent1>
        <a:srgbClr val="8878C8"/>
      </a:accent1>
      <a:accent2>
        <a:srgbClr val="00AA72"/>
      </a:accent2>
      <a:accent3>
        <a:srgbClr val="FFC500"/>
      </a:accent3>
      <a:accent4>
        <a:srgbClr val="FF9900"/>
      </a:accent4>
      <a:accent5>
        <a:srgbClr val="C00000"/>
      </a:accent5>
      <a:accent6>
        <a:srgbClr val="4C5861"/>
      </a:accent6>
      <a:hlink>
        <a:srgbClr val="0F3F93"/>
      </a:hlink>
      <a:folHlink>
        <a:srgbClr val="FF99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arrow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2" id="{9462B410-8345-43D2-AA91-D34F6DAB239B}" vid="{D2DC1740-9005-45C6-833B-154B78348634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DB87270E14B14ABE35478BAD0FBBC1" ma:contentTypeVersion="14" ma:contentTypeDescription="Create a new document." ma:contentTypeScope="" ma:versionID="2a1912ad2aa75c7d18361d6d93fbd780">
  <xsd:schema xmlns:xsd="http://www.w3.org/2001/XMLSchema" xmlns:xs="http://www.w3.org/2001/XMLSchema" xmlns:p="http://schemas.microsoft.com/office/2006/metadata/properties" xmlns:ns2="7eb85eb2-f6e4-495f-b292-0431dbc8946a" xmlns:ns3="425bf11f-de85-48fa-b6b3-84d83c888ec5" targetNamespace="http://schemas.microsoft.com/office/2006/metadata/properties" ma:root="true" ma:fieldsID="48a874068ea5d276fdead8f49baf0fd6" ns2:_="" ns3:_="">
    <xsd:import namespace="7eb85eb2-f6e4-495f-b292-0431dbc8946a"/>
    <xsd:import namespace="425bf11f-de85-48fa-b6b3-84d83c888e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b85eb2-f6e4-495f-b292-0431dbc8946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0c783900-8e7e-4bcb-8be8-980c9bc5d6e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5bf11f-de85-48fa-b6b3-84d83c888ec5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d6b5bb4e-ef09-40d0-b03f-4a8fe6fa44e6}" ma:internalName="TaxCatchAll" ma:showField="CatchAllData" ma:web="425bf11f-de85-48fa-b6b3-84d83c888ec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eb85eb2-f6e4-495f-b292-0431dbc8946a">
      <Terms xmlns="http://schemas.microsoft.com/office/infopath/2007/PartnerControls"/>
    </lcf76f155ced4ddcb4097134ff3c332f>
    <TaxCatchAll xmlns="425bf11f-de85-48fa-b6b3-84d83c888ec5" xsi:nil="true"/>
  </documentManagement>
</p:properties>
</file>

<file path=customXml/itemProps1.xml><?xml version="1.0" encoding="utf-8"?>
<ds:datastoreItem xmlns:ds="http://schemas.openxmlformats.org/officeDocument/2006/customXml" ds:itemID="{5B95CA7D-A2CE-481C-BBE1-D3DDD46A1F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b85eb2-f6e4-495f-b292-0431dbc8946a"/>
    <ds:schemaRef ds:uri="425bf11f-de85-48fa-b6b3-84d83c888e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BCC4545-D46F-4621-835F-ABBC83D6FE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405715-1E55-459B-897F-EC9C0245E786}">
  <ds:schemaRefs>
    <ds:schemaRef ds:uri="7eb85eb2-f6e4-495f-b292-0431dbc8946a"/>
    <ds:schemaRef ds:uri="http://purl.org/dc/dcmitype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425bf11f-de85-48fa-b6b3-84d83c888ec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saiic Folienvorlage mit PBK</Template>
  <TotalTime>0</TotalTime>
  <Words>513</Words>
  <Application>Microsoft Office PowerPoint</Application>
  <PresentationFormat>Bildschirmpräsentation (16:9)</PresentationFormat>
  <Paragraphs>92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rial</vt:lpstr>
      <vt:lpstr>Arial Narrow</vt:lpstr>
      <vt:lpstr>Calibri</vt:lpstr>
      <vt:lpstr>Helvetica</vt:lpstr>
      <vt:lpstr>Wingdings</vt:lpstr>
      <vt:lpstr>20150716_mosaiic_ppt_vorlage_16-9</vt:lpstr>
      <vt:lpstr>think-cell Folie</vt:lpstr>
      <vt:lpstr>PowerPoint-Präsentation</vt:lpstr>
      <vt:lpstr>Architekturprinzipien: Starter-Set</vt:lpstr>
      <vt:lpstr>Architekturprinzipien: Starter-Set</vt:lpstr>
      <vt:lpstr>Name: Was ist die Essenz des Prinzips in einer Wortgruppe?</vt:lpstr>
      <vt:lpstr>Beispiel: Langlebigkeit neuer IT-Systeme</vt:lpstr>
      <vt:lpstr>Wie können wir Ihnen helfen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.smuda@palladio-consulting.de;c.schulz@palladio-consulting.de</dc:creator>
  <cp:lastModifiedBy>Christopher Schulz</cp:lastModifiedBy>
  <cp:revision>137</cp:revision>
  <dcterms:created xsi:type="dcterms:W3CDTF">2016-09-20T12:16:29Z</dcterms:created>
  <dcterms:modified xsi:type="dcterms:W3CDTF">2022-09-27T09:4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DB87270E14B14ABE35478BAD0FBBC1</vt:lpwstr>
  </property>
  <property fmtid="{D5CDD505-2E9C-101B-9397-08002B2CF9AE}" pid="3" name="MediaServiceImageTags">
    <vt:lpwstr/>
  </property>
</Properties>
</file>